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2"/>
  </p:notesMasterIdLst>
  <p:handoutMasterIdLst>
    <p:handoutMasterId r:id="rId13"/>
  </p:handoutMasterIdLst>
  <p:sldIdLst>
    <p:sldId id="2146846143" r:id="rId5"/>
    <p:sldId id="2146846144" r:id="rId6"/>
    <p:sldId id="2146846145" r:id="rId7"/>
    <p:sldId id="2146846146" r:id="rId8"/>
    <p:sldId id="2146846141" r:id="rId9"/>
    <p:sldId id="2080108154" r:id="rId10"/>
    <p:sldId id="2146846147" r:id="rId11"/>
  </p:sldIdLst>
  <p:sldSz cx="12192000" cy="6858000"/>
  <p:notesSz cx="6858000" cy="9144000"/>
  <p:custDataLst>
    <p:tags r:id="rId14"/>
  </p:custDataLst>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3344D3F-A18A-4F4B-9BA7-A5E432000D9C}">
          <p14:sldIdLst>
            <p14:sldId id="2146846143"/>
            <p14:sldId id="2146846144"/>
            <p14:sldId id="2146846145"/>
            <p14:sldId id="2146846146"/>
            <p14:sldId id="2146846141"/>
            <p14:sldId id="2080108154"/>
            <p14:sldId id="214684614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3A55"/>
    <a:srgbClr val="D4BFF8"/>
    <a:srgbClr val="FFD9D7"/>
    <a:srgbClr val="D9D9D9"/>
    <a:srgbClr val="A97FF0"/>
    <a:srgbClr val="AA1228"/>
    <a:srgbClr val="2E2E38"/>
    <a:srgbClr val="F4736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24687EF-E736-4543-B7B4-07F22EE62771}" v="15" dt="2022-05-03T19:56:01.664"/>
    <p1510:client id="{CF7A0CBC-B3CD-4DD1-B312-EBBA27D2AA89}" v="7" dt="2022-05-03T23:30:15.4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70" autoAdjust="0"/>
    <p:restoredTop sz="94660"/>
  </p:normalViewPr>
  <p:slideViewPr>
    <p:cSldViewPr snapToGrid="0">
      <p:cViewPr>
        <p:scale>
          <a:sx n="125" d="100"/>
          <a:sy n="125" d="100"/>
        </p:scale>
        <p:origin x="60" y="-32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acy Unongo" userId="c539233b-2f8d-4ba7-9131-54d319c95f15" providerId="ADAL" clId="{C24687EF-E736-4543-B7B4-07F22EE62771}"/>
    <pc:docChg chg="undo redo custSel modSld">
      <pc:chgData name="Stacy Unongo" userId="c539233b-2f8d-4ba7-9131-54d319c95f15" providerId="ADAL" clId="{C24687EF-E736-4543-B7B4-07F22EE62771}" dt="2022-05-03T19:56:35.193" v="206" actId="313"/>
      <pc:docMkLst>
        <pc:docMk/>
      </pc:docMkLst>
      <pc:sldChg chg="addSp delSp modSp mod">
        <pc:chgData name="Stacy Unongo" userId="c539233b-2f8d-4ba7-9131-54d319c95f15" providerId="ADAL" clId="{C24687EF-E736-4543-B7B4-07F22EE62771}" dt="2022-05-03T19:56:35.193" v="206" actId="313"/>
        <pc:sldMkLst>
          <pc:docMk/>
          <pc:sldMk cId="1763399354" sldId="2080108152"/>
        </pc:sldMkLst>
        <pc:spChg chg="mod">
          <ac:chgData name="Stacy Unongo" userId="c539233b-2f8d-4ba7-9131-54d319c95f15" providerId="ADAL" clId="{C24687EF-E736-4543-B7B4-07F22EE62771}" dt="2022-05-03T19:12:23.789" v="52" actId="790"/>
          <ac:spMkLst>
            <pc:docMk/>
            <pc:sldMk cId="1763399354" sldId="2080108152"/>
            <ac:spMk id="30" creationId="{063CED07-CDC2-44F1-BD3E-165E2433CFEE}"/>
          </ac:spMkLst>
        </pc:spChg>
        <pc:spChg chg="mod">
          <ac:chgData name="Stacy Unongo" userId="c539233b-2f8d-4ba7-9131-54d319c95f15" providerId="ADAL" clId="{C24687EF-E736-4543-B7B4-07F22EE62771}" dt="2022-05-03T19:12:23.789" v="52" actId="790"/>
          <ac:spMkLst>
            <pc:docMk/>
            <pc:sldMk cId="1763399354" sldId="2080108152"/>
            <ac:spMk id="31" creationId="{FAB58704-B84B-4CE1-B84C-5FC2AE14727F}"/>
          </ac:spMkLst>
        </pc:spChg>
        <pc:spChg chg="mod">
          <ac:chgData name="Stacy Unongo" userId="c539233b-2f8d-4ba7-9131-54d319c95f15" providerId="ADAL" clId="{C24687EF-E736-4543-B7B4-07F22EE62771}" dt="2022-05-03T19:12:23.789" v="52" actId="790"/>
          <ac:spMkLst>
            <pc:docMk/>
            <pc:sldMk cId="1763399354" sldId="2080108152"/>
            <ac:spMk id="32" creationId="{0EAE7A0D-77FA-48BC-9F55-B25DA928FD7A}"/>
          </ac:spMkLst>
        </pc:spChg>
        <pc:spChg chg="mod">
          <ac:chgData name="Stacy Unongo" userId="c539233b-2f8d-4ba7-9131-54d319c95f15" providerId="ADAL" clId="{C24687EF-E736-4543-B7B4-07F22EE62771}" dt="2022-05-03T19:12:23.789" v="52" actId="790"/>
          <ac:spMkLst>
            <pc:docMk/>
            <pc:sldMk cId="1763399354" sldId="2080108152"/>
            <ac:spMk id="33" creationId="{3830BB33-176B-4A02-890D-4D3A766899CC}"/>
          </ac:spMkLst>
        </pc:spChg>
        <pc:spChg chg="mod">
          <ac:chgData name="Stacy Unongo" userId="c539233b-2f8d-4ba7-9131-54d319c95f15" providerId="ADAL" clId="{C24687EF-E736-4543-B7B4-07F22EE62771}" dt="2022-05-03T19:12:23.789" v="52" actId="790"/>
          <ac:spMkLst>
            <pc:docMk/>
            <pc:sldMk cId="1763399354" sldId="2080108152"/>
            <ac:spMk id="34" creationId="{43266F5E-B7AA-425E-8073-672A2B757812}"/>
          </ac:spMkLst>
        </pc:spChg>
        <pc:spChg chg="mod">
          <ac:chgData name="Stacy Unongo" userId="c539233b-2f8d-4ba7-9131-54d319c95f15" providerId="ADAL" clId="{C24687EF-E736-4543-B7B4-07F22EE62771}" dt="2022-05-03T19:12:23.789" v="52" actId="790"/>
          <ac:spMkLst>
            <pc:docMk/>
            <pc:sldMk cId="1763399354" sldId="2080108152"/>
            <ac:spMk id="35" creationId="{1DA08B00-AFAF-45A9-BFE7-1B23E6920183}"/>
          </ac:spMkLst>
        </pc:spChg>
        <pc:spChg chg="mod">
          <ac:chgData name="Stacy Unongo" userId="c539233b-2f8d-4ba7-9131-54d319c95f15" providerId="ADAL" clId="{C24687EF-E736-4543-B7B4-07F22EE62771}" dt="2022-05-03T19:12:23.789" v="52" actId="790"/>
          <ac:spMkLst>
            <pc:docMk/>
            <pc:sldMk cId="1763399354" sldId="2080108152"/>
            <ac:spMk id="36" creationId="{2D3BEB9F-C1EA-425D-92FA-AA4ABC7C71B8}"/>
          </ac:spMkLst>
        </pc:spChg>
        <pc:spChg chg="mod">
          <ac:chgData name="Stacy Unongo" userId="c539233b-2f8d-4ba7-9131-54d319c95f15" providerId="ADAL" clId="{C24687EF-E736-4543-B7B4-07F22EE62771}" dt="2022-05-03T19:12:23.789" v="52" actId="790"/>
          <ac:spMkLst>
            <pc:docMk/>
            <pc:sldMk cId="1763399354" sldId="2080108152"/>
            <ac:spMk id="37" creationId="{321D88DF-5191-4F28-AE14-52EF79AB1BE6}"/>
          </ac:spMkLst>
        </pc:spChg>
        <pc:spChg chg="mod">
          <ac:chgData name="Stacy Unongo" userId="c539233b-2f8d-4ba7-9131-54d319c95f15" providerId="ADAL" clId="{C24687EF-E736-4543-B7B4-07F22EE62771}" dt="2022-05-03T19:12:23.789" v="52" actId="790"/>
          <ac:spMkLst>
            <pc:docMk/>
            <pc:sldMk cId="1763399354" sldId="2080108152"/>
            <ac:spMk id="38" creationId="{7A7ACD23-64CC-4958-92A6-3C241F3728E1}"/>
          </ac:spMkLst>
        </pc:spChg>
        <pc:spChg chg="mod">
          <ac:chgData name="Stacy Unongo" userId="c539233b-2f8d-4ba7-9131-54d319c95f15" providerId="ADAL" clId="{C24687EF-E736-4543-B7B4-07F22EE62771}" dt="2022-05-03T19:12:23.789" v="52" actId="790"/>
          <ac:spMkLst>
            <pc:docMk/>
            <pc:sldMk cId="1763399354" sldId="2080108152"/>
            <ac:spMk id="39" creationId="{7BBC628A-D058-410D-AC4E-0F2E64763FB9}"/>
          </ac:spMkLst>
        </pc:spChg>
        <pc:spChg chg="mod">
          <ac:chgData name="Stacy Unongo" userId="c539233b-2f8d-4ba7-9131-54d319c95f15" providerId="ADAL" clId="{C24687EF-E736-4543-B7B4-07F22EE62771}" dt="2022-05-03T19:12:23.789" v="52" actId="790"/>
          <ac:spMkLst>
            <pc:docMk/>
            <pc:sldMk cId="1763399354" sldId="2080108152"/>
            <ac:spMk id="40" creationId="{E1AE21D6-B7A4-4C02-9813-F06C2E750718}"/>
          </ac:spMkLst>
        </pc:spChg>
        <pc:spChg chg="mod">
          <ac:chgData name="Stacy Unongo" userId="c539233b-2f8d-4ba7-9131-54d319c95f15" providerId="ADAL" clId="{C24687EF-E736-4543-B7B4-07F22EE62771}" dt="2022-05-03T19:12:23.789" v="52" actId="790"/>
          <ac:spMkLst>
            <pc:docMk/>
            <pc:sldMk cId="1763399354" sldId="2080108152"/>
            <ac:spMk id="41" creationId="{80A2358B-EFC9-4AF4-9A88-78A5DAB74534}"/>
          </ac:spMkLst>
        </pc:spChg>
        <pc:spChg chg="mod">
          <ac:chgData name="Stacy Unongo" userId="c539233b-2f8d-4ba7-9131-54d319c95f15" providerId="ADAL" clId="{C24687EF-E736-4543-B7B4-07F22EE62771}" dt="2022-05-03T19:12:23.789" v="52" actId="790"/>
          <ac:spMkLst>
            <pc:docMk/>
            <pc:sldMk cId="1763399354" sldId="2080108152"/>
            <ac:spMk id="42" creationId="{B630FCA5-ABD1-4D65-90FF-5E70C540242F}"/>
          </ac:spMkLst>
        </pc:spChg>
        <pc:spChg chg="mod">
          <ac:chgData name="Stacy Unongo" userId="c539233b-2f8d-4ba7-9131-54d319c95f15" providerId="ADAL" clId="{C24687EF-E736-4543-B7B4-07F22EE62771}" dt="2022-05-03T19:12:23.789" v="52" actId="790"/>
          <ac:spMkLst>
            <pc:docMk/>
            <pc:sldMk cId="1763399354" sldId="2080108152"/>
            <ac:spMk id="43" creationId="{3DD8309E-14FF-45B7-8E9D-FE0C6E2D9A17}"/>
          </ac:spMkLst>
        </pc:spChg>
        <pc:spChg chg="mod">
          <ac:chgData name="Stacy Unongo" userId="c539233b-2f8d-4ba7-9131-54d319c95f15" providerId="ADAL" clId="{C24687EF-E736-4543-B7B4-07F22EE62771}" dt="2022-05-03T19:12:23.789" v="52" actId="790"/>
          <ac:spMkLst>
            <pc:docMk/>
            <pc:sldMk cId="1763399354" sldId="2080108152"/>
            <ac:spMk id="44" creationId="{F240F267-A055-4921-B8C8-BB56A22F8639}"/>
          </ac:spMkLst>
        </pc:spChg>
        <pc:spChg chg="mod">
          <ac:chgData name="Stacy Unongo" userId="c539233b-2f8d-4ba7-9131-54d319c95f15" providerId="ADAL" clId="{C24687EF-E736-4543-B7B4-07F22EE62771}" dt="2022-05-03T19:12:23.789" v="52" actId="790"/>
          <ac:spMkLst>
            <pc:docMk/>
            <pc:sldMk cId="1763399354" sldId="2080108152"/>
            <ac:spMk id="45" creationId="{3C8FCCB4-CC87-4935-AF12-3C0023C4A514}"/>
          </ac:spMkLst>
        </pc:spChg>
        <pc:spChg chg="mod">
          <ac:chgData name="Stacy Unongo" userId="c539233b-2f8d-4ba7-9131-54d319c95f15" providerId="ADAL" clId="{C24687EF-E736-4543-B7B4-07F22EE62771}" dt="2022-05-03T19:12:23.789" v="52" actId="790"/>
          <ac:spMkLst>
            <pc:docMk/>
            <pc:sldMk cId="1763399354" sldId="2080108152"/>
            <ac:spMk id="46" creationId="{04A701D2-D5E4-4E56-AF84-B2144030AF9C}"/>
          </ac:spMkLst>
        </pc:spChg>
        <pc:spChg chg="mod">
          <ac:chgData name="Stacy Unongo" userId="c539233b-2f8d-4ba7-9131-54d319c95f15" providerId="ADAL" clId="{C24687EF-E736-4543-B7B4-07F22EE62771}" dt="2022-05-03T19:12:23.789" v="52" actId="790"/>
          <ac:spMkLst>
            <pc:docMk/>
            <pc:sldMk cId="1763399354" sldId="2080108152"/>
            <ac:spMk id="47" creationId="{8377209B-FF12-409B-BFFB-808D0BF5D40C}"/>
          </ac:spMkLst>
        </pc:spChg>
        <pc:spChg chg="mod">
          <ac:chgData name="Stacy Unongo" userId="c539233b-2f8d-4ba7-9131-54d319c95f15" providerId="ADAL" clId="{C24687EF-E736-4543-B7B4-07F22EE62771}" dt="2022-05-03T19:12:23.789" v="52" actId="790"/>
          <ac:spMkLst>
            <pc:docMk/>
            <pc:sldMk cId="1763399354" sldId="2080108152"/>
            <ac:spMk id="48" creationId="{E42B9697-5FA5-4C8C-BD93-E8A6CEA81210}"/>
          </ac:spMkLst>
        </pc:spChg>
        <pc:spChg chg="mod">
          <ac:chgData name="Stacy Unongo" userId="c539233b-2f8d-4ba7-9131-54d319c95f15" providerId="ADAL" clId="{C24687EF-E736-4543-B7B4-07F22EE62771}" dt="2022-05-03T19:14:02.142" v="76"/>
          <ac:spMkLst>
            <pc:docMk/>
            <pc:sldMk cId="1763399354" sldId="2080108152"/>
            <ac:spMk id="50" creationId="{11B6F90F-9819-4F06-B3FE-B07D261AB949}"/>
          </ac:spMkLst>
        </pc:spChg>
        <pc:spChg chg="mod">
          <ac:chgData name="Stacy Unongo" userId="c539233b-2f8d-4ba7-9131-54d319c95f15" providerId="ADAL" clId="{C24687EF-E736-4543-B7B4-07F22EE62771}" dt="2022-05-03T19:14:02.142" v="76"/>
          <ac:spMkLst>
            <pc:docMk/>
            <pc:sldMk cId="1763399354" sldId="2080108152"/>
            <ac:spMk id="51" creationId="{6E101CE7-2792-4E24-B516-AB36D45C8886}"/>
          </ac:spMkLst>
        </pc:spChg>
        <pc:spChg chg="mod">
          <ac:chgData name="Stacy Unongo" userId="c539233b-2f8d-4ba7-9131-54d319c95f15" providerId="ADAL" clId="{C24687EF-E736-4543-B7B4-07F22EE62771}" dt="2022-05-03T19:14:02.142" v="76"/>
          <ac:spMkLst>
            <pc:docMk/>
            <pc:sldMk cId="1763399354" sldId="2080108152"/>
            <ac:spMk id="52" creationId="{93DE9047-734D-4CDC-B531-A3F31B100057}"/>
          </ac:spMkLst>
        </pc:spChg>
        <pc:spChg chg="mod">
          <ac:chgData name="Stacy Unongo" userId="c539233b-2f8d-4ba7-9131-54d319c95f15" providerId="ADAL" clId="{C24687EF-E736-4543-B7B4-07F22EE62771}" dt="2022-05-03T19:14:02.142" v="76"/>
          <ac:spMkLst>
            <pc:docMk/>
            <pc:sldMk cId="1763399354" sldId="2080108152"/>
            <ac:spMk id="53" creationId="{086053B0-BE70-4151-B456-D38225E64415}"/>
          </ac:spMkLst>
        </pc:spChg>
        <pc:spChg chg="mod">
          <ac:chgData name="Stacy Unongo" userId="c539233b-2f8d-4ba7-9131-54d319c95f15" providerId="ADAL" clId="{C24687EF-E736-4543-B7B4-07F22EE62771}" dt="2022-05-03T19:14:02.142" v="76"/>
          <ac:spMkLst>
            <pc:docMk/>
            <pc:sldMk cId="1763399354" sldId="2080108152"/>
            <ac:spMk id="54" creationId="{10D74EFC-6D12-4353-B997-F98887E94745}"/>
          </ac:spMkLst>
        </pc:spChg>
        <pc:spChg chg="mod">
          <ac:chgData name="Stacy Unongo" userId="c539233b-2f8d-4ba7-9131-54d319c95f15" providerId="ADAL" clId="{C24687EF-E736-4543-B7B4-07F22EE62771}" dt="2022-05-03T19:14:02.142" v="76"/>
          <ac:spMkLst>
            <pc:docMk/>
            <pc:sldMk cId="1763399354" sldId="2080108152"/>
            <ac:spMk id="55" creationId="{1D69E60B-3A57-4562-9BA5-35E7D3433A85}"/>
          </ac:spMkLst>
        </pc:spChg>
        <pc:spChg chg="mod">
          <ac:chgData name="Stacy Unongo" userId="c539233b-2f8d-4ba7-9131-54d319c95f15" providerId="ADAL" clId="{C24687EF-E736-4543-B7B4-07F22EE62771}" dt="2022-05-03T19:14:02.142" v="76"/>
          <ac:spMkLst>
            <pc:docMk/>
            <pc:sldMk cId="1763399354" sldId="2080108152"/>
            <ac:spMk id="56" creationId="{CB40119A-022E-4BA2-83EA-5C896D69BA21}"/>
          </ac:spMkLst>
        </pc:spChg>
        <pc:spChg chg="mod">
          <ac:chgData name="Stacy Unongo" userId="c539233b-2f8d-4ba7-9131-54d319c95f15" providerId="ADAL" clId="{C24687EF-E736-4543-B7B4-07F22EE62771}" dt="2022-05-03T19:14:02.142" v="76"/>
          <ac:spMkLst>
            <pc:docMk/>
            <pc:sldMk cId="1763399354" sldId="2080108152"/>
            <ac:spMk id="57" creationId="{1A85391F-C198-4B26-8B3D-EDC805AB64A3}"/>
          </ac:spMkLst>
        </pc:spChg>
        <pc:spChg chg="mod">
          <ac:chgData name="Stacy Unongo" userId="c539233b-2f8d-4ba7-9131-54d319c95f15" providerId="ADAL" clId="{C24687EF-E736-4543-B7B4-07F22EE62771}" dt="2022-05-03T19:14:02.142" v="76"/>
          <ac:spMkLst>
            <pc:docMk/>
            <pc:sldMk cId="1763399354" sldId="2080108152"/>
            <ac:spMk id="58" creationId="{41FF53AD-C1F7-46E4-9AC9-586132F3E521}"/>
          </ac:spMkLst>
        </pc:spChg>
        <pc:spChg chg="mod">
          <ac:chgData name="Stacy Unongo" userId="c539233b-2f8d-4ba7-9131-54d319c95f15" providerId="ADAL" clId="{C24687EF-E736-4543-B7B4-07F22EE62771}" dt="2022-05-03T19:20:58.367" v="153"/>
          <ac:spMkLst>
            <pc:docMk/>
            <pc:sldMk cId="1763399354" sldId="2080108152"/>
            <ac:spMk id="59" creationId="{422A93F6-EA38-4E0A-B73A-64A31DA215B7}"/>
          </ac:spMkLst>
        </pc:spChg>
        <pc:spChg chg="mod">
          <ac:chgData name="Stacy Unongo" userId="c539233b-2f8d-4ba7-9131-54d319c95f15" providerId="ADAL" clId="{C24687EF-E736-4543-B7B4-07F22EE62771}" dt="2022-05-03T19:14:02.142" v="76"/>
          <ac:spMkLst>
            <pc:docMk/>
            <pc:sldMk cId="1763399354" sldId="2080108152"/>
            <ac:spMk id="60" creationId="{F5AA174A-B262-49F2-8883-3FA965ECCCB0}"/>
          </ac:spMkLst>
        </pc:spChg>
        <pc:spChg chg="mod">
          <ac:chgData name="Stacy Unongo" userId="c539233b-2f8d-4ba7-9131-54d319c95f15" providerId="ADAL" clId="{C24687EF-E736-4543-B7B4-07F22EE62771}" dt="2022-05-03T19:16:23.945" v="137" actId="20577"/>
          <ac:spMkLst>
            <pc:docMk/>
            <pc:sldMk cId="1763399354" sldId="2080108152"/>
            <ac:spMk id="61" creationId="{C9C36564-731C-4B86-BEBD-F18FEC8B3262}"/>
          </ac:spMkLst>
        </pc:spChg>
        <pc:spChg chg="mod">
          <ac:chgData name="Stacy Unongo" userId="c539233b-2f8d-4ba7-9131-54d319c95f15" providerId="ADAL" clId="{C24687EF-E736-4543-B7B4-07F22EE62771}" dt="2022-05-03T19:14:02.142" v="76"/>
          <ac:spMkLst>
            <pc:docMk/>
            <pc:sldMk cId="1763399354" sldId="2080108152"/>
            <ac:spMk id="62" creationId="{A6EB404D-17B9-40A6-9A80-723484B33E6F}"/>
          </ac:spMkLst>
        </pc:spChg>
        <pc:spChg chg="mod">
          <ac:chgData name="Stacy Unongo" userId="c539233b-2f8d-4ba7-9131-54d319c95f15" providerId="ADAL" clId="{C24687EF-E736-4543-B7B4-07F22EE62771}" dt="2022-05-03T19:12:23.789" v="52" actId="790"/>
          <ac:spMkLst>
            <pc:docMk/>
            <pc:sldMk cId="1763399354" sldId="2080108152"/>
            <ac:spMk id="63" creationId="{826F8B44-A45F-4921-BA1C-BB16C2ACBC8D}"/>
          </ac:spMkLst>
        </pc:spChg>
        <pc:spChg chg="mod">
          <ac:chgData name="Stacy Unongo" userId="c539233b-2f8d-4ba7-9131-54d319c95f15" providerId="ADAL" clId="{C24687EF-E736-4543-B7B4-07F22EE62771}" dt="2022-05-03T19:14:02.142" v="76"/>
          <ac:spMkLst>
            <pc:docMk/>
            <pc:sldMk cId="1763399354" sldId="2080108152"/>
            <ac:spMk id="64" creationId="{FA550948-F277-4A64-B9A8-D990A288B3B1}"/>
          </ac:spMkLst>
        </pc:spChg>
        <pc:spChg chg="mod">
          <ac:chgData name="Stacy Unongo" userId="c539233b-2f8d-4ba7-9131-54d319c95f15" providerId="ADAL" clId="{C24687EF-E736-4543-B7B4-07F22EE62771}" dt="2022-05-03T19:14:02.142" v="76"/>
          <ac:spMkLst>
            <pc:docMk/>
            <pc:sldMk cId="1763399354" sldId="2080108152"/>
            <ac:spMk id="65" creationId="{2842FFCE-382E-406F-9349-F48C0F748187}"/>
          </ac:spMkLst>
        </pc:spChg>
        <pc:spChg chg="del mod">
          <ac:chgData name="Stacy Unongo" userId="c539233b-2f8d-4ba7-9131-54d319c95f15" providerId="ADAL" clId="{C24687EF-E736-4543-B7B4-07F22EE62771}" dt="2022-05-03T19:18:20.833" v="151" actId="478"/>
          <ac:spMkLst>
            <pc:docMk/>
            <pc:sldMk cId="1763399354" sldId="2080108152"/>
            <ac:spMk id="66" creationId="{681673FD-1728-4EAC-B461-E6A26E7D5B58}"/>
          </ac:spMkLst>
        </pc:spChg>
        <pc:spChg chg="mod">
          <ac:chgData name="Stacy Unongo" userId="c539233b-2f8d-4ba7-9131-54d319c95f15" providerId="ADAL" clId="{C24687EF-E736-4543-B7B4-07F22EE62771}" dt="2022-05-03T19:50:53.801" v="166"/>
          <ac:spMkLst>
            <pc:docMk/>
            <pc:sldMk cId="1763399354" sldId="2080108152"/>
            <ac:spMk id="67" creationId="{40468A0C-FBD1-4E98-A3DD-BDE0DE998A2A}"/>
          </ac:spMkLst>
        </pc:spChg>
        <pc:spChg chg="mod">
          <ac:chgData name="Stacy Unongo" userId="c539233b-2f8d-4ba7-9131-54d319c95f15" providerId="ADAL" clId="{C24687EF-E736-4543-B7B4-07F22EE62771}" dt="2022-05-03T19:56:35.193" v="206" actId="313"/>
          <ac:spMkLst>
            <pc:docMk/>
            <pc:sldMk cId="1763399354" sldId="2080108152"/>
            <ac:spMk id="68" creationId="{F211D6F8-36F3-48C3-91A1-FB236F9BA408}"/>
          </ac:spMkLst>
        </pc:spChg>
        <pc:spChg chg="mod">
          <ac:chgData name="Stacy Unongo" userId="c539233b-2f8d-4ba7-9131-54d319c95f15" providerId="ADAL" clId="{C24687EF-E736-4543-B7B4-07F22EE62771}" dt="2022-05-03T19:12:23.789" v="52" actId="790"/>
          <ac:spMkLst>
            <pc:docMk/>
            <pc:sldMk cId="1763399354" sldId="2080108152"/>
            <ac:spMk id="69" creationId="{391E7FE5-F827-43AB-AF69-B560CA81E82C}"/>
          </ac:spMkLst>
        </pc:spChg>
        <pc:spChg chg="mod">
          <ac:chgData name="Stacy Unongo" userId="c539233b-2f8d-4ba7-9131-54d319c95f15" providerId="ADAL" clId="{C24687EF-E736-4543-B7B4-07F22EE62771}" dt="2022-05-03T19:12:23.789" v="52" actId="790"/>
          <ac:spMkLst>
            <pc:docMk/>
            <pc:sldMk cId="1763399354" sldId="2080108152"/>
            <ac:spMk id="70" creationId="{DAE71F83-9F04-4C4E-B16E-969DF16125E8}"/>
          </ac:spMkLst>
        </pc:spChg>
        <pc:spChg chg="mod">
          <ac:chgData name="Stacy Unongo" userId="c539233b-2f8d-4ba7-9131-54d319c95f15" providerId="ADAL" clId="{C24687EF-E736-4543-B7B4-07F22EE62771}" dt="2022-05-03T19:49:11.067" v="162"/>
          <ac:spMkLst>
            <pc:docMk/>
            <pc:sldMk cId="1763399354" sldId="2080108152"/>
            <ac:spMk id="71" creationId="{38556937-2D3B-4151-B2D9-D4B7177B52F3}"/>
          </ac:spMkLst>
        </pc:spChg>
        <pc:spChg chg="mod">
          <ac:chgData name="Stacy Unongo" userId="c539233b-2f8d-4ba7-9131-54d319c95f15" providerId="ADAL" clId="{C24687EF-E736-4543-B7B4-07F22EE62771}" dt="2022-05-03T19:55:15.215" v="169" actId="20577"/>
          <ac:spMkLst>
            <pc:docMk/>
            <pc:sldMk cId="1763399354" sldId="2080108152"/>
            <ac:spMk id="72" creationId="{EAED0996-E726-4806-A44B-EAFD7E03AD78}"/>
          </ac:spMkLst>
        </pc:spChg>
        <pc:spChg chg="mod">
          <ac:chgData name="Stacy Unongo" userId="c539233b-2f8d-4ba7-9131-54d319c95f15" providerId="ADAL" clId="{C24687EF-E736-4543-B7B4-07F22EE62771}" dt="2022-05-03T19:14:02.142" v="76"/>
          <ac:spMkLst>
            <pc:docMk/>
            <pc:sldMk cId="1763399354" sldId="2080108152"/>
            <ac:spMk id="73" creationId="{AB71026C-C3FD-411E-9B1E-A3E38BFB3E04}"/>
          </ac:spMkLst>
        </pc:spChg>
        <pc:spChg chg="mod">
          <ac:chgData name="Stacy Unongo" userId="c539233b-2f8d-4ba7-9131-54d319c95f15" providerId="ADAL" clId="{C24687EF-E736-4543-B7B4-07F22EE62771}" dt="2022-05-03T19:14:02.142" v="76"/>
          <ac:spMkLst>
            <pc:docMk/>
            <pc:sldMk cId="1763399354" sldId="2080108152"/>
            <ac:spMk id="74" creationId="{05257F17-4EBD-4423-B02C-F3DF7C6FB9C7}"/>
          </ac:spMkLst>
        </pc:spChg>
        <pc:spChg chg="mod">
          <ac:chgData name="Stacy Unongo" userId="c539233b-2f8d-4ba7-9131-54d319c95f15" providerId="ADAL" clId="{C24687EF-E736-4543-B7B4-07F22EE62771}" dt="2022-05-03T19:14:02.142" v="76"/>
          <ac:spMkLst>
            <pc:docMk/>
            <pc:sldMk cId="1763399354" sldId="2080108152"/>
            <ac:spMk id="75" creationId="{9BAEE4B5-47CC-4AB9-936C-0E225426BBE5}"/>
          </ac:spMkLst>
        </pc:spChg>
        <pc:spChg chg="mod">
          <ac:chgData name="Stacy Unongo" userId="c539233b-2f8d-4ba7-9131-54d319c95f15" providerId="ADAL" clId="{C24687EF-E736-4543-B7B4-07F22EE62771}" dt="2022-05-03T19:14:02.142" v="76"/>
          <ac:spMkLst>
            <pc:docMk/>
            <pc:sldMk cId="1763399354" sldId="2080108152"/>
            <ac:spMk id="76" creationId="{3D5F74EE-42E5-4F6B-B240-BD811123C514}"/>
          </ac:spMkLst>
        </pc:spChg>
        <pc:spChg chg="mod">
          <ac:chgData name="Stacy Unongo" userId="c539233b-2f8d-4ba7-9131-54d319c95f15" providerId="ADAL" clId="{C24687EF-E736-4543-B7B4-07F22EE62771}" dt="2022-05-03T19:14:02.142" v="76"/>
          <ac:spMkLst>
            <pc:docMk/>
            <pc:sldMk cId="1763399354" sldId="2080108152"/>
            <ac:spMk id="77" creationId="{34A1912F-2EBD-489F-ACF1-F3429136C581}"/>
          </ac:spMkLst>
        </pc:spChg>
        <pc:spChg chg="mod">
          <ac:chgData name="Stacy Unongo" userId="c539233b-2f8d-4ba7-9131-54d319c95f15" providerId="ADAL" clId="{C24687EF-E736-4543-B7B4-07F22EE62771}" dt="2022-05-03T19:14:02.142" v="76"/>
          <ac:spMkLst>
            <pc:docMk/>
            <pc:sldMk cId="1763399354" sldId="2080108152"/>
            <ac:spMk id="78" creationId="{73CE4C63-FD54-43E9-B719-2720E9D2AD69}"/>
          </ac:spMkLst>
        </pc:spChg>
        <pc:spChg chg="mod">
          <ac:chgData name="Stacy Unongo" userId="c539233b-2f8d-4ba7-9131-54d319c95f15" providerId="ADAL" clId="{C24687EF-E736-4543-B7B4-07F22EE62771}" dt="2022-05-03T19:14:49.875" v="121"/>
          <ac:spMkLst>
            <pc:docMk/>
            <pc:sldMk cId="1763399354" sldId="2080108152"/>
            <ac:spMk id="80" creationId="{3EBCBA5D-F421-4D32-9B10-81C5996AA260}"/>
          </ac:spMkLst>
        </pc:spChg>
        <pc:spChg chg="mod">
          <ac:chgData name="Stacy Unongo" userId="c539233b-2f8d-4ba7-9131-54d319c95f15" providerId="ADAL" clId="{C24687EF-E736-4543-B7B4-07F22EE62771}" dt="2022-05-03T19:14:49.875" v="121"/>
          <ac:spMkLst>
            <pc:docMk/>
            <pc:sldMk cId="1763399354" sldId="2080108152"/>
            <ac:spMk id="81" creationId="{80E7113F-D109-49A8-8F67-FA9AEDA1D02E}"/>
          </ac:spMkLst>
        </pc:spChg>
        <pc:spChg chg="mod">
          <ac:chgData name="Stacy Unongo" userId="c539233b-2f8d-4ba7-9131-54d319c95f15" providerId="ADAL" clId="{C24687EF-E736-4543-B7B4-07F22EE62771}" dt="2022-05-03T19:14:49.875" v="121"/>
          <ac:spMkLst>
            <pc:docMk/>
            <pc:sldMk cId="1763399354" sldId="2080108152"/>
            <ac:spMk id="82" creationId="{D2BFF472-F416-46C5-9C0F-9D5B201D021E}"/>
          </ac:spMkLst>
        </pc:spChg>
        <pc:spChg chg="mod">
          <ac:chgData name="Stacy Unongo" userId="c539233b-2f8d-4ba7-9131-54d319c95f15" providerId="ADAL" clId="{C24687EF-E736-4543-B7B4-07F22EE62771}" dt="2022-05-03T19:14:49.875" v="121"/>
          <ac:spMkLst>
            <pc:docMk/>
            <pc:sldMk cId="1763399354" sldId="2080108152"/>
            <ac:spMk id="83" creationId="{6CE9C68F-74C0-4299-AAE5-A092ABC20093}"/>
          </ac:spMkLst>
        </pc:spChg>
        <pc:spChg chg="mod">
          <ac:chgData name="Stacy Unongo" userId="c539233b-2f8d-4ba7-9131-54d319c95f15" providerId="ADAL" clId="{C24687EF-E736-4543-B7B4-07F22EE62771}" dt="2022-05-03T19:14:49.875" v="121"/>
          <ac:spMkLst>
            <pc:docMk/>
            <pc:sldMk cId="1763399354" sldId="2080108152"/>
            <ac:spMk id="84" creationId="{66A11038-DD39-48B6-9D25-5359BB58DDEF}"/>
          </ac:spMkLst>
        </pc:spChg>
        <pc:spChg chg="mod">
          <ac:chgData name="Stacy Unongo" userId="c539233b-2f8d-4ba7-9131-54d319c95f15" providerId="ADAL" clId="{C24687EF-E736-4543-B7B4-07F22EE62771}" dt="2022-05-03T19:14:49.875" v="121"/>
          <ac:spMkLst>
            <pc:docMk/>
            <pc:sldMk cId="1763399354" sldId="2080108152"/>
            <ac:spMk id="85" creationId="{73C931F3-2DEE-4852-B2E8-E5655227959F}"/>
          </ac:spMkLst>
        </pc:spChg>
        <pc:spChg chg="mod">
          <ac:chgData name="Stacy Unongo" userId="c539233b-2f8d-4ba7-9131-54d319c95f15" providerId="ADAL" clId="{C24687EF-E736-4543-B7B4-07F22EE62771}" dt="2022-05-03T19:14:49.875" v="121"/>
          <ac:spMkLst>
            <pc:docMk/>
            <pc:sldMk cId="1763399354" sldId="2080108152"/>
            <ac:spMk id="86" creationId="{64727149-5D18-40C9-9BB5-651578C8C840}"/>
          </ac:spMkLst>
        </pc:spChg>
        <pc:spChg chg="mod">
          <ac:chgData name="Stacy Unongo" userId="c539233b-2f8d-4ba7-9131-54d319c95f15" providerId="ADAL" clId="{C24687EF-E736-4543-B7B4-07F22EE62771}" dt="2022-05-03T19:14:49.875" v="121"/>
          <ac:spMkLst>
            <pc:docMk/>
            <pc:sldMk cId="1763399354" sldId="2080108152"/>
            <ac:spMk id="87" creationId="{C741F51C-4039-40CA-A512-8994A65E3903}"/>
          </ac:spMkLst>
        </pc:spChg>
        <pc:spChg chg="mod">
          <ac:chgData name="Stacy Unongo" userId="c539233b-2f8d-4ba7-9131-54d319c95f15" providerId="ADAL" clId="{C24687EF-E736-4543-B7B4-07F22EE62771}" dt="2022-05-03T19:14:49.875" v="121"/>
          <ac:spMkLst>
            <pc:docMk/>
            <pc:sldMk cId="1763399354" sldId="2080108152"/>
            <ac:spMk id="88" creationId="{5AE74C7C-421B-4438-9837-B915AD8D7D63}"/>
          </ac:spMkLst>
        </pc:spChg>
        <pc:spChg chg="mod">
          <ac:chgData name="Stacy Unongo" userId="c539233b-2f8d-4ba7-9131-54d319c95f15" providerId="ADAL" clId="{C24687EF-E736-4543-B7B4-07F22EE62771}" dt="2022-05-03T19:14:49.875" v="121"/>
          <ac:spMkLst>
            <pc:docMk/>
            <pc:sldMk cId="1763399354" sldId="2080108152"/>
            <ac:spMk id="89" creationId="{A62FA6D1-8690-4CA2-BA32-CC65A153730F}"/>
          </ac:spMkLst>
        </pc:spChg>
        <pc:spChg chg="mod">
          <ac:chgData name="Stacy Unongo" userId="c539233b-2f8d-4ba7-9131-54d319c95f15" providerId="ADAL" clId="{C24687EF-E736-4543-B7B4-07F22EE62771}" dt="2022-05-03T19:14:49.875" v="121"/>
          <ac:spMkLst>
            <pc:docMk/>
            <pc:sldMk cId="1763399354" sldId="2080108152"/>
            <ac:spMk id="90" creationId="{2E12780B-4F1A-485E-A9E0-331E252ABA33}"/>
          </ac:spMkLst>
        </pc:spChg>
        <pc:spChg chg="mod">
          <ac:chgData name="Stacy Unongo" userId="c539233b-2f8d-4ba7-9131-54d319c95f15" providerId="ADAL" clId="{C24687EF-E736-4543-B7B4-07F22EE62771}" dt="2022-05-03T19:14:49.875" v="121"/>
          <ac:spMkLst>
            <pc:docMk/>
            <pc:sldMk cId="1763399354" sldId="2080108152"/>
            <ac:spMk id="91" creationId="{72F9A00A-65A4-41D6-8D7D-9341813280BF}"/>
          </ac:spMkLst>
        </pc:spChg>
        <pc:spChg chg="mod">
          <ac:chgData name="Stacy Unongo" userId="c539233b-2f8d-4ba7-9131-54d319c95f15" providerId="ADAL" clId="{C24687EF-E736-4543-B7B4-07F22EE62771}" dt="2022-05-03T19:14:49.875" v="121"/>
          <ac:spMkLst>
            <pc:docMk/>
            <pc:sldMk cId="1763399354" sldId="2080108152"/>
            <ac:spMk id="92" creationId="{B85AFC65-F6A6-41A6-A7FD-66E465C40C3E}"/>
          </ac:spMkLst>
        </pc:spChg>
        <pc:spChg chg="mod">
          <ac:chgData name="Stacy Unongo" userId="c539233b-2f8d-4ba7-9131-54d319c95f15" providerId="ADAL" clId="{C24687EF-E736-4543-B7B4-07F22EE62771}" dt="2022-05-03T19:14:49.875" v="121"/>
          <ac:spMkLst>
            <pc:docMk/>
            <pc:sldMk cId="1763399354" sldId="2080108152"/>
            <ac:spMk id="93" creationId="{D2382236-2099-4E75-BC3D-A01ABF8193C3}"/>
          </ac:spMkLst>
        </pc:spChg>
        <pc:spChg chg="mod">
          <ac:chgData name="Stacy Unongo" userId="c539233b-2f8d-4ba7-9131-54d319c95f15" providerId="ADAL" clId="{C24687EF-E736-4543-B7B4-07F22EE62771}" dt="2022-05-03T19:14:49.875" v="121"/>
          <ac:spMkLst>
            <pc:docMk/>
            <pc:sldMk cId="1763399354" sldId="2080108152"/>
            <ac:spMk id="94" creationId="{20D6CE2B-637C-4CA2-820F-FA40EFB948A0}"/>
          </ac:spMkLst>
        </pc:spChg>
        <pc:spChg chg="mod">
          <ac:chgData name="Stacy Unongo" userId="c539233b-2f8d-4ba7-9131-54d319c95f15" providerId="ADAL" clId="{C24687EF-E736-4543-B7B4-07F22EE62771}" dt="2022-05-03T19:14:49.875" v="121"/>
          <ac:spMkLst>
            <pc:docMk/>
            <pc:sldMk cId="1763399354" sldId="2080108152"/>
            <ac:spMk id="95" creationId="{F8051469-706D-4BCE-AF24-3CEAF26F1255}"/>
          </ac:spMkLst>
        </pc:spChg>
        <pc:spChg chg="mod">
          <ac:chgData name="Stacy Unongo" userId="c539233b-2f8d-4ba7-9131-54d319c95f15" providerId="ADAL" clId="{C24687EF-E736-4543-B7B4-07F22EE62771}" dt="2022-05-03T19:14:49.875" v="121"/>
          <ac:spMkLst>
            <pc:docMk/>
            <pc:sldMk cId="1763399354" sldId="2080108152"/>
            <ac:spMk id="96" creationId="{089BB422-7D91-40B0-8594-E33114CB22F5}"/>
          </ac:spMkLst>
        </pc:spChg>
        <pc:spChg chg="mod">
          <ac:chgData name="Stacy Unongo" userId="c539233b-2f8d-4ba7-9131-54d319c95f15" providerId="ADAL" clId="{C24687EF-E736-4543-B7B4-07F22EE62771}" dt="2022-05-03T19:14:49.875" v="121"/>
          <ac:spMkLst>
            <pc:docMk/>
            <pc:sldMk cId="1763399354" sldId="2080108152"/>
            <ac:spMk id="97" creationId="{A96817D6-4329-4A98-965E-AA3A52CA07AB}"/>
          </ac:spMkLst>
        </pc:spChg>
        <pc:spChg chg="mod">
          <ac:chgData name="Stacy Unongo" userId="c539233b-2f8d-4ba7-9131-54d319c95f15" providerId="ADAL" clId="{C24687EF-E736-4543-B7B4-07F22EE62771}" dt="2022-05-03T19:14:49.875" v="121"/>
          <ac:spMkLst>
            <pc:docMk/>
            <pc:sldMk cId="1763399354" sldId="2080108152"/>
            <ac:spMk id="98" creationId="{169E4A7C-DD66-41B2-8438-F2772A6607CC}"/>
          </ac:spMkLst>
        </pc:spChg>
        <pc:spChg chg="add mod">
          <ac:chgData name="Stacy Unongo" userId="c539233b-2f8d-4ba7-9131-54d319c95f15" providerId="ADAL" clId="{C24687EF-E736-4543-B7B4-07F22EE62771}" dt="2022-05-03T19:18:21.548" v="152"/>
          <ac:spMkLst>
            <pc:docMk/>
            <pc:sldMk cId="1763399354" sldId="2080108152"/>
            <ac:spMk id="99" creationId="{90B0097A-B23B-4850-8D4C-D833B72306F4}"/>
          </ac:spMkLst>
        </pc:spChg>
        <pc:grpChg chg="del">
          <ac:chgData name="Stacy Unongo" userId="c539233b-2f8d-4ba7-9131-54d319c95f15" providerId="ADAL" clId="{C24687EF-E736-4543-B7B4-07F22EE62771}" dt="2022-05-03T19:14:01.282" v="75" actId="478"/>
          <ac:grpSpMkLst>
            <pc:docMk/>
            <pc:sldMk cId="1763399354" sldId="2080108152"/>
            <ac:grpSpMk id="21" creationId="{2B3F7D68-B594-459E-962A-7CE36C84078A}"/>
          </ac:grpSpMkLst>
        </pc:grpChg>
        <pc:grpChg chg="add del mod">
          <ac:chgData name="Stacy Unongo" userId="c539233b-2f8d-4ba7-9131-54d319c95f15" providerId="ADAL" clId="{C24687EF-E736-4543-B7B4-07F22EE62771}" dt="2022-05-03T19:14:48.442" v="120" actId="21"/>
          <ac:grpSpMkLst>
            <pc:docMk/>
            <pc:sldMk cId="1763399354" sldId="2080108152"/>
            <ac:grpSpMk id="49" creationId="{0B938899-488D-4D1A-81AD-6CA474FE7515}"/>
          </ac:grpSpMkLst>
        </pc:grpChg>
        <pc:grpChg chg="add mod">
          <ac:chgData name="Stacy Unongo" userId="c539233b-2f8d-4ba7-9131-54d319c95f15" providerId="ADAL" clId="{C24687EF-E736-4543-B7B4-07F22EE62771}" dt="2022-05-03T19:14:49.875" v="121"/>
          <ac:grpSpMkLst>
            <pc:docMk/>
            <pc:sldMk cId="1763399354" sldId="2080108152"/>
            <ac:grpSpMk id="79" creationId="{6447D11A-BA0F-44E1-A21F-527C550D7123}"/>
          </ac:grpSpMkLst>
        </pc:grpChg>
      </pc:sldChg>
      <pc:sldChg chg="modSp mod">
        <pc:chgData name="Stacy Unongo" userId="c539233b-2f8d-4ba7-9131-54d319c95f15" providerId="ADAL" clId="{C24687EF-E736-4543-B7B4-07F22EE62771}" dt="2022-05-03T19:10:35.365" v="50"/>
        <pc:sldMkLst>
          <pc:docMk/>
          <pc:sldMk cId="1848831380" sldId="2080108153"/>
        </pc:sldMkLst>
        <pc:spChg chg="mod">
          <ac:chgData name="Stacy Unongo" userId="c539233b-2f8d-4ba7-9131-54d319c95f15" providerId="ADAL" clId="{C24687EF-E736-4543-B7B4-07F22EE62771}" dt="2022-05-03T19:10:35.365" v="50"/>
          <ac:spMkLst>
            <pc:docMk/>
            <pc:sldMk cId="1848831380" sldId="2080108153"/>
            <ac:spMk id="2" creationId="{3B7BC6A8-CBC8-412E-9AB0-BE35D21D01FA}"/>
          </ac:spMkLst>
        </pc:spChg>
        <pc:spChg chg="mod">
          <ac:chgData name="Stacy Unongo" userId="c539233b-2f8d-4ba7-9131-54d319c95f15" providerId="ADAL" clId="{C24687EF-E736-4543-B7B4-07F22EE62771}" dt="2022-05-03T18:19:16.599" v="8" actId="20577"/>
          <ac:spMkLst>
            <pc:docMk/>
            <pc:sldMk cId="1848831380" sldId="2080108153"/>
            <ac:spMk id="4" creationId="{6624E48B-2400-49FA-A1A6-E821750E4FF8}"/>
          </ac:spMkLst>
        </pc:spChg>
        <pc:spChg chg="mod">
          <ac:chgData name="Stacy Unongo" userId="c539233b-2f8d-4ba7-9131-54d319c95f15" providerId="ADAL" clId="{C24687EF-E736-4543-B7B4-07F22EE62771}" dt="2022-05-03T18:21:00.640" v="20"/>
          <ac:spMkLst>
            <pc:docMk/>
            <pc:sldMk cId="1848831380" sldId="2080108153"/>
            <ac:spMk id="7" creationId="{85138679-D9BD-4E73-91C9-B3D4A0122212}"/>
          </ac:spMkLst>
        </pc:spChg>
        <pc:spChg chg="mod">
          <ac:chgData name="Stacy Unongo" userId="c539233b-2f8d-4ba7-9131-54d319c95f15" providerId="ADAL" clId="{C24687EF-E736-4543-B7B4-07F22EE62771}" dt="2022-05-03T19:10:12.452" v="49" actId="6549"/>
          <ac:spMkLst>
            <pc:docMk/>
            <pc:sldMk cId="1848831380" sldId="2080108153"/>
            <ac:spMk id="9" creationId="{52174229-4CBE-4D15-9E35-DF4F6AE7370B}"/>
          </ac:spMkLst>
        </pc:spChg>
        <pc:spChg chg="mod">
          <ac:chgData name="Stacy Unongo" userId="c539233b-2f8d-4ba7-9131-54d319c95f15" providerId="ADAL" clId="{C24687EF-E736-4543-B7B4-07F22EE62771}" dt="2022-05-03T18:47:25.135" v="27" actId="20577"/>
          <ac:spMkLst>
            <pc:docMk/>
            <pc:sldMk cId="1848831380" sldId="2080108153"/>
            <ac:spMk id="13" creationId="{03A5623A-B958-47E9-A36F-28E256F722EE}"/>
          </ac:spMkLst>
        </pc:spChg>
        <pc:spChg chg="mod">
          <ac:chgData name="Stacy Unongo" userId="c539233b-2f8d-4ba7-9131-54d319c95f15" providerId="ADAL" clId="{C24687EF-E736-4543-B7B4-07F22EE62771}" dt="2022-05-03T18:19:38.358" v="10" actId="790"/>
          <ac:spMkLst>
            <pc:docMk/>
            <pc:sldMk cId="1848831380" sldId="2080108153"/>
            <ac:spMk id="16" creationId="{2FE55139-A8F9-40D7-BE85-5F82AE0B05E9}"/>
          </ac:spMkLst>
        </pc:spChg>
        <pc:spChg chg="mod">
          <ac:chgData name="Stacy Unongo" userId="c539233b-2f8d-4ba7-9131-54d319c95f15" providerId="ADAL" clId="{C24687EF-E736-4543-B7B4-07F22EE62771}" dt="2022-05-03T18:19:38.358" v="10" actId="790"/>
          <ac:spMkLst>
            <pc:docMk/>
            <pc:sldMk cId="1848831380" sldId="2080108153"/>
            <ac:spMk id="17" creationId="{BF462DBB-DFA1-47BD-9907-9A01FE7755A1}"/>
          </ac:spMkLst>
        </pc:spChg>
      </pc:sldChg>
      <pc:sldChg chg="addSp delSp modSp mod">
        <pc:chgData name="Stacy Unongo" userId="c539233b-2f8d-4ba7-9131-54d319c95f15" providerId="ADAL" clId="{C24687EF-E736-4543-B7B4-07F22EE62771}" dt="2022-05-03T19:21:08.742" v="154"/>
        <pc:sldMkLst>
          <pc:docMk/>
          <pc:sldMk cId="1414752705" sldId="2080108154"/>
        </pc:sldMkLst>
        <pc:spChg chg="mod">
          <ac:chgData name="Stacy Unongo" userId="c539233b-2f8d-4ba7-9131-54d319c95f15" providerId="ADAL" clId="{C24687EF-E736-4543-B7B4-07F22EE62771}" dt="2022-05-03T19:16:36.543" v="138" actId="790"/>
          <ac:spMkLst>
            <pc:docMk/>
            <pc:sldMk cId="1414752705" sldId="2080108154"/>
            <ac:spMk id="49" creationId="{7F9A2BDE-C0F8-4DA6-BAE0-73F19E40B1B8}"/>
          </ac:spMkLst>
        </pc:spChg>
        <pc:spChg chg="mod">
          <ac:chgData name="Stacy Unongo" userId="c539233b-2f8d-4ba7-9131-54d319c95f15" providerId="ADAL" clId="{C24687EF-E736-4543-B7B4-07F22EE62771}" dt="2022-05-03T19:13:29.296" v="54"/>
          <ac:spMkLst>
            <pc:docMk/>
            <pc:sldMk cId="1414752705" sldId="2080108154"/>
            <ac:spMk id="50" creationId="{350FC766-9F89-4FC6-80FC-06B2D303E5FD}"/>
          </ac:spMkLst>
        </pc:spChg>
        <pc:spChg chg="mod">
          <ac:chgData name="Stacy Unongo" userId="c539233b-2f8d-4ba7-9131-54d319c95f15" providerId="ADAL" clId="{C24687EF-E736-4543-B7B4-07F22EE62771}" dt="2022-05-03T19:13:29.296" v="54"/>
          <ac:spMkLst>
            <pc:docMk/>
            <pc:sldMk cId="1414752705" sldId="2080108154"/>
            <ac:spMk id="51" creationId="{F059318C-1714-4E9B-AFE4-5195B6F222EC}"/>
          </ac:spMkLst>
        </pc:spChg>
        <pc:spChg chg="mod">
          <ac:chgData name="Stacy Unongo" userId="c539233b-2f8d-4ba7-9131-54d319c95f15" providerId="ADAL" clId="{C24687EF-E736-4543-B7B4-07F22EE62771}" dt="2022-05-03T19:13:29.296" v="54"/>
          <ac:spMkLst>
            <pc:docMk/>
            <pc:sldMk cId="1414752705" sldId="2080108154"/>
            <ac:spMk id="52" creationId="{856EAF38-8135-4739-9C76-F4E9D1236831}"/>
          </ac:spMkLst>
        </pc:spChg>
        <pc:spChg chg="mod">
          <ac:chgData name="Stacy Unongo" userId="c539233b-2f8d-4ba7-9131-54d319c95f15" providerId="ADAL" clId="{C24687EF-E736-4543-B7B4-07F22EE62771}" dt="2022-05-03T19:13:29.296" v="54"/>
          <ac:spMkLst>
            <pc:docMk/>
            <pc:sldMk cId="1414752705" sldId="2080108154"/>
            <ac:spMk id="53" creationId="{E2DC36CD-450D-4CC1-BF0E-DA130CF01054}"/>
          </ac:spMkLst>
        </pc:spChg>
        <pc:spChg chg="mod">
          <ac:chgData name="Stacy Unongo" userId="c539233b-2f8d-4ba7-9131-54d319c95f15" providerId="ADAL" clId="{C24687EF-E736-4543-B7B4-07F22EE62771}" dt="2022-05-03T19:13:29.296" v="54"/>
          <ac:spMkLst>
            <pc:docMk/>
            <pc:sldMk cId="1414752705" sldId="2080108154"/>
            <ac:spMk id="54" creationId="{2BCCD237-381D-4557-8BEB-2F609CD15F95}"/>
          </ac:spMkLst>
        </pc:spChg>
        <pc:spChg chg="mod">
          <ac:chgData name="Stacy Unongo" userId="c539233b-2f8d-4ba7-9131-54d319c95f15" providerId="ADAL" clId="{C24687EF-E736-4543-B7B4-07F22EE62771}" dt="2022-05-03T19:13:29.296" v="54"/>
          <ac:spMkLst>
            <pc:docMk/>
            <pc:sldMk cId="1414752705" sldId="2080108154"/>
            <ac:spMk id="55" creationId="{AECB288A-29AE-4488-8653-81A929D1843C}"/>
          </ac:spMkLst>
        </pc:spChg>
        <pc:spChg chg="mod">
          <ac:chgData name="Stacy Unongo" userId="c539233b-2f8d-4ba7-9131-54d319c95f15" providerId="ADAL" clId="{C24687EF-E736-4543-B7B4-07F22EE62771}" dt="2022-05-03T19:13:29.296" v="54"/>
          <ac:spMkLst>
            <pc:docMk/>
            <pc:sldMk cId="1414752705" sldId="2080108154"/>
            <ac:spMk id="56" creationId="{3D8CFD1D-E9CE-4074-AB2F-5A8E290B0270}"/>
          </ac:spMkLst>
        </pc:spChg>
        <pc:spChg chg="mod">
          <ac:chgData name="Stacy Unongo" userId="c539233b-2f8d-4ba7-9131-54d319c95f15" providerId="ADAL" clId="{C24687EF-E736-4543-B7B4-07F22EE62771}" dt="2022-05-03T19:13:29.296" v="54"/>
          <ac:spMkLst>
            <pc:docMk/>
            <pc:sldMk cId="1414752705" sldId="2080108154"/>
            <ac:spMk id="57" creationId="{52195CF1-5C7B-4DF9-89E7-2BBEF7EADED8}"/>
          </ac:spMkLst>
        </pc:spChg>
        <pc:spChg chg="mod">
          <ac:chgData name="Stacy Unongo" userId="c539233b-2f8d-4ba7-9131-54d319c95f15" providerId="ADAL" clId="{C24687EF-E736-4543-B7B4-07F22EE62771}" dt="2022-05-03T19:13:29.296" v="54"/>
          <ac:spMkLst>
            <pc:docMk/>
            <pc:sldMk cId="1414752705" sldId="2080108154"/>
            <ac:spMk id="58" creationId="{AB785D5D-1695-4DB7-9638-188481BE0952}"/>
          </ac:spMkLst>
        </pc:spChg>
        <pc:spChg chg="mod">
          <ac:chgData name="Stacy Unongo" userId="c539233b-2f8d-4ba7-9131-54d319c95f15" providerId="ADAL" clId="{C24687EF-E736-4543-B7B4-07F22EE62771}" dt="2022-05-03T19:21:08.742" v="154"/>
          <ac:spMkLst>
            <pc:docMk/>
            <pc:sldMk cId="1414752705" sldId="2080108154"/>
            <ac:spMk id="59" creationId="{422A93F6-EA38-4E0A-B73A-64A31DA215B7}"/>
          </ac:spMkLst>
        </pc:spChg>
        <pc:spChg chg="mod">
          <ac:chgData name="Stacy Unongo" userId="c539233b-2f8d-4ba7-9131-54d319c95f15" providerId="ADAL" clId="{C24687EF-E736-4543-B7B4-07F22EE62771}" dt="2022-05-03T19:13:29.296" v="54"/>
          <ac:spMkLst>
            <pc:docMk/>
            <pc:sldMk cId="1414752705" sldId="2080108154"/>
            <ac:spMk id="60" creationId="{7F7E6046-DF88-4B5C-9E2A-DC2D544603EA}"/>
          </ac:spMkLst>
        </pc:spChg>
        <pc:spChg chg="mod">
          <ac:chgData name="Stacy Unongo" userId="c539233b-2f8d-4ba7-9131-54d319c95f15" providerId="ADAL" clId="{C24687EF-E736-4543-B7B4-07F22EE62771}" dt="2022-05-03T19:16:36.543" v="138" actId="790"/>
          <ac:spMkLst>
            <pc:docMk/>
            <pc:sldMk cId="1414752705" sldId="2080108154"/>
            <ac:spMk id="61" creationId="{C9C36564-731C-4B86-BEBD-F18FEC8B3262}"/>
          </ac:spMkLst>
        </pc:spChg>
        <pc:spChg chg="mod">
          <ac:chgData name="Stacy Unongo" userId="c539233b-2f8d-4ba7-9131-54d319c95f15" providerId="ADAL" clId="{C24687EF-E736-4543-B7B4-07F22EE62771}" dt="2022-05-03T19:13:29.296" v="54"/>
          <ac:spMkLst>
            <pc:docMk/>
            <pc:sldMk cId="1414752705" sldId="2080108154"/>
            <ac:spMk id="62" creationId="{3596A5DC-D63E-4F93-A7F7-AAA797D7EEA4}"/>
          </ac:spMkLst>
        </pc:spChg>
        <pc:spChg chg="mod">
          <ac:chgData name="Stacy Unongo" userId="c539233b-2f8d-4ba7-9131-54d319c95f15" providerId="ADAL" clId="{C24687EF-E736-4543-B7B4-07F22EE62771}" dt="2022-05-03T19:16:36.543" v="138" actId="790"/>
          <ac:spMkLst>
            <pc:docMk/>
            <pc:sldMk cId="1414752705" sldId="2080108154"/>
            <ac:spMk id="63" creationId="{826F8B44-A45F-4921-BA1C-BB16C2ACBC8D}"/>
          </ac:spMkLst>
        </pc:spChg>
        <pc:spChg chg="mod">
          <ac:chgData name="Stacy Unongo" userId="c539233b-2f8d-4ba7-9131-54d319c95f15" providerId="ADAL" clId="{C24687EF-E736-4543-B7B4-07F22EE62771}" dt="2022-05-03T19:13:29.296" v="54"/>
          <ac:spMkLst>
            <pc:docMk/>
            <pc:sldMk cId="1414752705" sldId="2080108154"/>
            <ac:spMk id="64" creationId="{68F4DF1E-FE08-40AA-8655-12D9F54E053B}"/>
          </ac:spMkLst>
        </pc:spChg>
        <pc:spChg chg="mod">
          <ac:chgData name="Stacy Unongo" userId="c539233b-2f8d-4ba7-9131-54d319c95f15" providerId="ADAL" clId="{C24687EF-E736-4543-B7B4-07F22EE62771}" dt="2022-05-03T19:13:29.296" v="54"/>
          <ac:spMkLst>
            <pc:docMk/>
            <pc:sldMk cId="1414752705" sldId="2080108154"/>
            <ac:spMk id="65" creationId="{DC36D77D-07A2-4B88-B422-8F245A7FB88F}"/>
          </ac:spMkLst>
        </pc:spChg>
        <pc:spChg chg="mod">
          <ac:chgData name="Stacy Unongo" userId="c539233b-2f8d-4ba7-9131-54d319c95f15" providerId="ADAL" clId="{C24687EF-E736-4543-B7B4-07F22EE62771}" dt="2022-05-03T19:18:16.124" v="150" actId="1036"/>
          <ac:spMkLst>
            <pc:docMk/>
            <pc:sldMk cId="1414752705" sldId="2080108154"/>
            <ac:spMk id="66" creationId="{681673FD-1728-4EAC-B461-E6A26E7D5B58}"/>
          </ac:spMkLst>
        </pc:spChg>
        <pc:spChg chg="mod">
          <ac:chgData name="Stacy Unongo" userId="c539233b-2f8d-4ba7-9131-54d319c95f15" providerId="ADAL" clId="{C24687EF-E736-4543-B7B4-07F22EE62771}" dt="2022-05-03T19:13:29.296" v="54"/>
          <ac:spMkLst>
            <pc:docMk/>
            <pc:sldMk cId="1414752705" sldId="2080108154"/>
            <ac:spMk id="67" creationId="{C1FF0BAE-33B0-4D2C-9629-A50E0D5FCC71}"/>
          </ac:spMkLst>
        </pc:spChg>
        <pc:spChg chg="mod">
          <ac:chgData name="Stacy Unongo" userId="c539233b-2f8d-4ba7-9131-54d319c95f15" providerId="ADAL" clId="{C24687EF-E736-4543-B7B4-07F22EE62771}" dt="2022-05-03T19:13:29.296" v="54"/>
          <ac:spMkLst>
            <pc:docMk/>
            <pc:sldMk cId="1414752705" sldId="2080108154"/>
            <ac:spMk id="68" creationId="{4C7FF7A0-9737-479F-A5CF-8E054A317A77}"/>
          </ac:spMkLst>
        </pc:spChg>
        <pc:spChg chg="mod">
          <ac:chgData name="Stacy Unongo" userId="c539233b-2f8d-4ba7-9131-54d319c95f15" providerId="ADAL" clId="{C24687EF-E736-4543-B7B4-07F22EE62771}" dt="2022-05-03T19:16:36.543" v="138" actId="790"/>
          <ac:spMkLst>
            <pc:docMk/>
            <pc:sldMk cId="1414752705" sldId="2080108154"/>
            <ac:spMk id="69" creationId="{391E7FE5-F827-43AB-AF69-B560CA81E82C}"/>
          </ac:spMkLst>
        </pc:spChg>
        <pc:spChg chg="mod">
          <ac:chgData name="Stacy Unongo" userId="c539233b-2f8d-4ba7-9131-54d319c95f15" providerId="ADAL" clId="{C24687EF-E736-4543-B7B4-07F22EE62771}" dt="2022-05-03T19:16:36.543" v="138" actId="790"/>
          <ac:spMkLst>
            <pc:docMk/>
            <pc:sldMk cId="1414752705" sldId="2080108154"/>
            <ac:spMk id="70" creationId="{DAE71F83-9F04-4C4E-B16E-969DF16125E8}"/>
          </ac:spMkLst>
        </pc:spChg>
        <pc:spChg chg="mod">
          <ac:chgData name="Stacy Unongo" userId="c539233b-2f8d-4ba7-9131-54d319c95f15" providerId="ADAL" clId="{C24687EF-E736-4543-B7B4-07F22EE62771}" dt="2022-05-03T19:13:29.296" v="54"/>
          <ac:spMkLst>
            <pc:docMk/>
            <pc:sldMk cId="1414752705" sldId="2080108154"/>
            <ac:spMk id="71" creationId="{06FE143D-C13C-4BCC-A7F0-EC2E871A5A51}"/>
          </ac:spMkLst>
        </pc:spChg>
        <pc:spChg chg="mod">
          <ac:chgData name="Stacy Unongo" userId="c539233b-2f8d-4ba7-9131-54d319c95f15" providerId="ADAL" clId="{C24687EF-E736-4543-B7B4-07F22EE62771}" dt="2022-05-03T19:13:29.296" v="54"/>
          <ac:spMkLst>
            <pc:docMk/>
            <pc:sldMk cId="1414752705" sldId="2080108154"/>
            <ac:spMk id="72" creationId="{1AA90538-88B0-4A0D-A085-02CCFEB346DE}"/>
          </ac:spMkLst>
        </pc:spChg>
        <pc:spChg chg="mod">
          <ac:chgData name="Stacy Unongo" userId="c539233b-2f8d-4ba7-9131-54d319c95f15" providerId="ADAL" clId="{C24687EF-E736-4543-B7B4-07F22EE62771}" dt="2022-05-03T19:13:29.296" v="54"/>
          <ac:spMkLst>
            <pc:docMk/>
            <pc:sldMk cId="1414752705" sldId="2080108154"/>
            <ac:spMk id="73" creationId="{12ADF7CE-096F-432C-BAAE-B83C7FA97966}"/>
          </ac:spMkLst>
        </pc:spChg>
        <pc:spChg chg="mod">
          <ac:chgData name="Stacy Unongo" userId="c539233b-2f8d-4ba7-9131-54d319c95f15" providerId="ADAL" clId="{C24687EF-E736-4543-B7B4-07F22EE62771}" dt="2022-05-03T19:13:29.296" v="54"/>
          <ac:spMkLst>
            <pc:docMk/>
            <pc:sldMk cId="1414752705" sldId="2080108154"/>
            <ac:spMk id="74" creationId="{9B8D66D2-9C88-477E-8598-AAE2CF9DCCFD}"/>
          </ac:spMkLst>
        </pc:spChg>
        <pc:spChg chg="mod">
          <ac:chgData name="Stacy Unongo" userId="c539233b-2f8d-4ba7-9131-54d319c95f15" providerId="ADAL" clId="{C24687EF-E736-4543-B7B4-07F22EE62771}" dt="2022-05-03T19:14:52.739" v="123"/>
          <ac:spMkLst>
            <pc:docMk/>
            <pc:sldMk cId="1414752705" sldId="2080108154"/>
            <ac:spMk id="76" creationId="{2EBA408D-1193-43A8-9BCB-FD209D3C6778}"/>
          </ac:spMkLst>
        </pc:spChg>
        <pc:spChg chg="mod">
          <ac:chgData name="Stacy Unongo" userId="c539233b-2f8d-4ba7-9131-54d319c95f15" providerId="ADAL" clId="{C24687EF-E736-4543-B7B4-07F22EE62771}" dt="2022-05-03T19:14:52.739" v="123"/>
          <ac:spMkLst>
            <pc:docMk/>
            <pc:sldMk cId="1414752705" sldId="2080108154"/>
            <ac:spMk id="77" creationId="{FA47D71B-6285-41AA-BEBA-55E030EC11B1}"/>
          </ac:spMkLst>
        </pc:spChg>
        <pc:spChg chg="mod">
          <ac:chgData name="Stacy Unongo" userId="c539233b-2f8d-4ba7-9131-54d319c95f15" providerId="ADAL" clId="{C24687EF-E736-4543-B7B4-07F22EE62771}" dt="2022-05-03T19:14:52.739" v="123"/>
          <ac:spMkLst>
            <pc:docMk/>
            <pc:sldMk cId="1414752705" sldId="2080108154"/>
            <ac:spMk id="78" creationId="{0865A749-2CF1-4EE2-9483-904374E9C2BC}"/>
          </ac:spMkLst>
        </pc:spChg>
        <pc:spChg chg="mod">
          <ac:chgData name="Stacy Unongo" userId="c539233b-2f8d-4ba7-9131-54d319c95f15" providerId="ADAL" clId="{C24687EF-E736-4543-B7B4-07F22EE62771}" dt="2022-05-03T19:14:52.739" v="123"/>
          <ac:spMkLst>
            <pc:docMk/>
            <pc:sldMk cId="1414752705" sldId="2080108154"/>
            <ac:spMk id="79" creationId="{FFFD2004-148C-4231-86B4-9840F16A9FB6}"/>
          </ac:spMkLst>
        </pc:spChg>
        <pc:spChg chg="mod">
          <ac:chgData name="Stacy Unongo" userId="c539233b-2f8d-4ba7-9131-54d319c95f15" providerId="ADAL" clId="{C24687EF-E736-4543-B7B4-07F22EE62771}" dt="2022-05-03T19:14:52.739" v="123"/>
          <ac:spMkLst>
            <pc:docMk/>
            <pc:sldMk cId="1414752705" sldId="2080108154"/>
            <ac:spMk id="80" creationId="{62A35165-A4EC-4D28-8272-826AAE294DF5}"/>
          </ac:spMkLst>
        </pc:spChg>
        <pc:spChg chg="mod">
          <ac:chgData name="Stacy Unongo" userId="c539233b-2f8d-4ba7-9131-54d319c95f15" providerId="ADAL" clId="{C24687EF-E736-4543-B7B4-07F22EE62771}" dt="2022-05-03T19:14:52.739" v="123"/>
          <ac:spMkLst>
            <pc:docMk/>
            <pc:sldMk cId="1414752705" sldId="2080108154"/>
            <ac:spMk id="81" creationId="{19DA549A-6691-469A-8FC2-A6ACD6DE0E9D}"/>
          </ac:spMkLst>
        </pc:spChg>
        <pc:spChg chg="mod">
          <ac:chgData name="Stacy Unongo" userId="c539233b-2f8d-4ba7-9131-54d319c95f15" providerId="ADAL" clId="{C24687EF-E736-4543-B7B4-07F22EE62771}" dt="2022-05-03T19:14:52.739" v="123"/>
          <ac:spMkLst>
            <pc:docMk/>
            <pc:sldMk cId="1414752705" sldId="2080108154"/>
            <ac:spMk id="82" creationId="{F20FAF39-6FD1-45F6-B91B-18321F981C64}"/>
          </ac:spMkLst>
        </pc:spChg>
        <pc:spChg chg="mod">
          <ac:chgData name="Stacy Unongo" userId="c539233b-2f8d-4ba7-9131-54d319c95f15" providerId="ADAL" clId="{C24687EF-E736-4543-B7B4-07F22EE62771}" dt="2022-05-03T19:14:52.739" v="123"/>
          <ac:spMkLst>
            <pc:docMk/>
            <pc:sldMk cId="1414752705" sldId="2080108154"/>
            <ac:spMk id="83" creationId="{EEA514B3-DD9D-4B13-AA4A-43617BDC98AD}"/>
          </ac:spMkLst>
        </pc:spChg>
        <pc:spChg chg="mod">
          <ac:chgData name="Stacy Unongo" userId="c539233b-2f8d-4ba7-9131-54d319c95f15" providerId="ADAL" clId="{C24687EF-E736-4543-B7B4-07F22EE62771}" dt="2022-05-03T19:14:52.739" v="123"/>
          <ac:spMkLst>
            <pc:docMk/>
            <pc:sldMk cId="1414752705" sldId="2080108154"/>
            <ac:spMk id="84" creationId="{61E22313-7C27-44E5-AE7D-896865A94D6A}"/>
          </ac:spMkLst>
        </pc:spChg>
        <pc:spChg chg="mod">
          <ac:chgData name="Stacy Unongo" userId="c539233b-2f8d-4ba7-9131-54d319c95f15" providerId="ADAL" clId="{C24687EF-E736-4543-B7B4-07F22EE62771}" dt="2022-05-03T19:14:52.739" v="123"/>
          <ac:spMkLst>
            <pc:docMk/>
            <pc:sldMk cId="1414752705" sldId="2080108154"/>
            <ac:spMk id="85" creationId="{F7A9D1EE-6897-4F2E-94EC-60DE84DF7ABC}"/>
          </ac:spMkLst>
        </pc:spChg>
        <pc:spChg chg="mod">
          <ac:chgData name="Stacy Unongo" userId="c539233b-2f8d-4ba7-9131-54d319c95f15" providerId="ADAL" clId="{C24687EF-E736-4543-B7B4-07F22EE62771}" dt="2022-05-03T19:14:52.739" v="123"/>
          <ac:spMkLst>
            <pc:docMk/>
            <pc:sldMk cId="1414752705" sldId="2080108154"/>
            <ac:spMk id="86" creationId="{FBAB68E1-C5DD-484C-B872-BAB7AAA3F6C0}"/>
          </ac:spMkLst>
        </pc:spChg>
        <pc:spChg chg="mod">
          <ac:chgData name="Stacy Unongo" userId="c539233b-2f8d-4ba7-9131-54d319c95f15" providerId="ADAL" clId="{C24687EF-E736-4543-B7B4-07F22EE62771}" dt="2022-05-03T19:14:52.739" v="123"/>
          <ac:spMkLst>
            <pc:docMk/>
            <pc:sldMk cId="1414752705" sldId="2080108154"/>
            <ac:spMk id="87" creationId="{F1A1EF69-463B-4623-893D-392AA53CD33F}"/>
          </ac:spMkLst>
        </pc:spChg>
        <pc:spChg chg="mod">
          <ac:chgData name="Stacy Unongo" userId="c539233b-2f8d-4ba7-9131-54d319c95f15" providerId="ADAL" clId="{C24687EF-E736-4543-B7B4-07F22EE62771}" dt="2022-05-03T19:14:52.739" v="123"/>
          <ac:spMkLst>
            <pc:docMk/>
            <pc:sldMk cId="1414752705" sldId="2080108154"/>
            <ac:spMk id="88" creationId="{14092222-1037-4329-BCD6-F95A14EC676B}"/>
          </ac:spMkLst>
        </pc:spChg>
        <pc:spChg chg="mod">
          <ac:chgData name="Stacy Unongo" userId="c539233b-2f8d-4ba7-9131-54d319c95f15" providerId="ADAL" clId="{C24687EF-E736-4543-B7B4-07F22EE62771}" dt="2022-05-03T19:14:52.739" v="123"/>
          <ac:spMkLst>
            <pc:docMk/>
            <pc:sldMk cId="1414752705" sldId="2080108154"/>
            <ac:spMk id="89" creationId="{A1A385FE-EF11-4E9E-B032-0E11CA0ACD64}"/>
          </ac:spMkLst>
        </pc:spChg>
        <pc:spChg chg="mod">
          <ac:chgData name="Stacy Unongo" userId="c539233b-2f8d-4ba7-9131-54d319c95f15" providerId="ADAL" clId="{C24687EF-E736-4543-B7B4-07F22EE62771}" dt="2022-05-03T19:14:52.739" v="123"/>
          <ac:spMkLst>
            <pc:docMk/>
            <pc:sldMk cId="1414752705" sldId="2080108154"/>
            <ac:spMk id="90" creationId="{5D7C7A7C-9268-4585-A1FD-12357A13F3A0}"/>
          </ac:spMkLst>
        </pc:spChg>
        <pc:spChg chg="mod">
          <ac:chgData name="Stacy Unongo" userId="c539233b-2f8d-4ba7-9131-54d319c95f15" providerId="ADAL" clId="{C24687EF-E736-4543-B7B4-07F22EE62771}" dt="2022-05-03T19:14:52.739" v="123"/>
          <ac:spMkLst>
            <pc:docMk/>
            <pc:sldMk cId="1414752705" sldId="2080108154"/>
            <ac:spMk id="91" creationId="{F49AF833-8872-4F57-9CE9-990BD7D39D86}"/>
          </ac:spMkLst>
        </pc:spChg>
        <pc:spChg chg="mod">
          <ac:chgData name="Stacy Unongo" userId="c539233b-2f8d-4ba7-9131-54d319c95f15" providerId="ADAL" clId="{C24687EF-E736-4543-B7B4-07F22EE62771}" dt="2022-05-03T19:14:52.739" v="123"/>
          <ac:spMkLst>
            <pc:docMk/>
            <pc:sldMk cId="1414752705" sldId="2080108154"/>
            <ac:spMk id="92" creationId="{4564EC31-1267-492C-A541-E133BC51196B}"/>
          </ac:spMkLst>
        </pc:spChg>
        <pc:spChg chg="mod">
          <ac:chgData name="Stacy Unongo" userId="c539233b-2f8d-4ba7-9131-54d319c95f15" providerId="ADAL" clId="{C24687EF-E736-4543-B7B4-07F22EE62771}" dt="2022-05-03T19:14:52.739" v="123"/>
          <ac:spMkLst>
            <pc:docMk/>
            <pc:sldMk cId="1414752705" sldId="2080108154"/>
            <ac:spMk id="93" creationId="{227DFAA2-924C-438D-B403-D7C817D8F8C8}"/>
          </ac:spMkLst>
        </pc:spChg>
        <pc:spChg chg="mod">
          <ac:chgData name="Stacy Unongo" userId="c539233b-2f8d-4ba7-9131-54d319c95f15" providerId="ADAL" clId="{C24687EF-E736-4543-B7B4-07F22EE62771}" dt="2022-05-03T19:14:52.739" v="123"/>
          <ac:spMkLst>
            <pc:docMk/>
            <pc:sldMk cId="1414752705" sldId="2080108154"/>
            <ac:spMk id="94" creationId="{697CB677-F4C0-4E4E-B78E-ABAD587084F7}"/>
          </ac:spMkLst>
        </pc:spChg>
        <pc:grpChg chg="del">
          <ac:chgData name="Stacy Unongo" userId="c539233b-2f8d-4ba7-9131-54d319c95f15" providerId="ADAL" clId="{C24687EF-E736-4543-B7B4-07F22EE62771}" dt="2022-05-03T19:13:28.240" v="53" actId="478"/>
          <ac:grpSpMkLst>
            <pc:docMk/>
            <pc:sldMk cId="1414752705" sldId="2080108154"/>
            <ac:grpSpMk id="21" creationId="{2B3F7D68-B594-459E-962A-7CE36C84078A}"/>
          </ac:grpSpMkLst>
        </pc:grpChg>
        <pc:grpChg chg="add del mod">
          <ac:chgData name="Stacy Unongo" userId="c539233b-2f8d-4ba7-9131-54d319c95f15" providerId="ADAL" clId="{C24687EF-E736-4543-B7B4-07F22EE62771}" dt="2022-05-03T19:14:52.334" v="122" actId="478"/>
          <ac:grpSpMkLst>
            <pc:docMk/>
            <pc:sldMk cId="1414752705" sldId="2080108154"/>
            <ac:grpSpMk id="29" creationId="{C04B4250-91A7-47C5-AECE-1468650CAC31}"/>
          </ac:grpSpMkLst>
        </pc:grpChg>
        <pc:grpChg chg="add mod">
          <ac:chgData name="Stacy Unongo" userId="c539233b-2f8d-4ba7-9131-54d319c95f15" providerId="ADAL" clId="{C24687EF-E736-4543-B7B4-07F22EE62771}" dt="2022-05-03T19:14:52.739" v="123"/>
          <ac:grpSpMkLst>
            <pc:docMk/>
            <pc:sldMk cId="1414752705" sldId="2080108154"/>
            <ac:grpSpMk id="75" creationId="{AA9A6FDB-AFF2-4D0B-BC3E-9ABF62D5962A}"/>
          </ac:grpSpMkLst>
        </pc:grpChg>
      </pc:sldChg>
    </pc:docChg>
  </pc:docChgLst>
  <pc:docChgLst>
    <pc:chgData name="Katerine Schifino" userId="37bb67de-9fcf-4611-888c-7e5b58184a2a" providerId="ADAL" clId="{CF7A0CBC-B3CD-4DD1-B312-EBBA27D2AA89}"/>
    <pc:docChg chg="undo custSel addSld delSld modSld addSection delSection modSection">
      <pc:chgData name="Katerine Schifino" userId="37bb67de-9fcf-4611-888c-7e5b58184a2a" providerId="ADAL" clId="{CF7A0CBC-B3CD-4DD1-B312-EBBA27D2AA89}" dt="2022-05-03T23:35:14.800" v="331" actId="1076"/>
      <pc:docMkLst>
        <pc:docMk/>
      </pc:docMkLst>
      <pc:sldChg chg="add del">
        <pc:chgData name="Katerine Schifino" userId="37bb67de-9fcf-4611-888c-7e5b58184a2a" providerId="ADAL" clId="{CF7A0CBC-B3CD-4DD1-B312-EBBA27D2AA89}" dt="2022-05-03T23:20:25.577" v="9" actId="47"/>
        <pc:sldMkLst>
          <pc:docMk/>
          <pc:sldMk cId="1763399354" sldId="2080108152"/>
        </pc:sldMkLst>
      </pc:sldChg>
      <pc:sldChg chg="add del">
        <pc:chgData name="Katerine Schifino" userId="37bb67de-9fcf-4611-888c-7e5b58184a2a" providerId="ADAL" clId="{CF7A0CBC-B3CD-4DD1-B312-EBBA27D2AA89}" dt="2022-05-03T23:20:23.557" v="8" actId="47"/>
        <pc:sldMkLst>
          <pc:docMk/>
          <pc:sldMk cId="1848831380" sldId="2080108153"/>
        </pc:sldMkLst>
      </pc:sldChg>
      <pc:sldChg chg="del">
        <pc:chgData name="Katerine Schifino" userId="37bb67de-9fcf-4611-888c-7e5b58184a2a" providerId="ADAL" clId="{CF7A0CBC-B3CD-4DD1-B312-EBBA27D2AA89}" dt="2022-05-03T23:19:46.824" v="1" actId="2696"/>
        <pc:sldMkLst>
          <pc:docMk/>
          <pc:sldMk cId="1414752705" sldId="2080108154"/>
        </pc:sldMkLst>
      </pc:sldChg>
      <pc:sldChg chg="delSp modSp add del mod">
        <pc:chgData name="Katerine Schifino" userId="37bb67de-9fcf-4611-888c-7e5b58184a2a" providerId="ADAL" clId="{CF7A0CBC-B3CD-4DD1-B312-EBBA27D2AA89}" dt="2022-05-03T23:30:46.919" v="292" actId="368"/>
        <pc:sldMkLst>
          <pc:docMk/>
          <pc:sldMk cId="2927421706" sldId="2080108154"/>
        </pc:sldMkLst>
        <pc:spChg chg="del mod">
          <ac:chgData name="Katerine Schifino" userId="37bb67de-9fcf-4611-888c-7e5b58184a2a" providerId="ADAL" clId="{CF7A0CBC-B3CD-4DD1-B312-EBBA27D2AA89}" dt="2022-05-03T23:19:56.573" v="4" actId="478"/>
          <ac:spMkLst>
            <pc:docMk/>
            <pc:sldMk cId="2927421706" sldId="2080108154"/>
            <ac:spMk id="66" creationId="{681673FD-1728-4EAC-B461-E6A26E7D5B58}"/>
          </ac:spMkLst>
        </pc:spChg>
        <pc:spChg chg="mod">
          <ac:chgData name="Katerine Schifino" userId="37bb67de-9fcf-4611-888c-7e5b58184a2a" providerId="ADAL" clId="{CF7A0CBC-B3CD-4DD1-B312-EBBA27D2AA89}" dt="2022-05-03T23:30:46.919" v="292" actId="368"/>
          <ac:spMkLst>
            <pc:docMk/>
            <pc:sldMk cId="2927421706" sldId="2080108154"/>
            <ac:spMk id="69" creationId="{391E7FE5-F827-43AB-AF69-B560CA81E82C}"/>
          </ac:spMkLst>
        </pc:spChg>
      </pc:sldChg>
      <pc:sldChg chg="add del">
        <pc:chgData name="Katerine Schifino" userId="37bb67de-9fcf-4611-888c-7e5b58184a2a" providerId="ADAL" clId="{CF7A0CBC-B3CD-4DD1-B312-EBBA27D2AA89}" dt="2022-05-03T23:21:04.162" v="11" actId="47"/>
        <pc:sldMkLst>
          <pc:docMk/>
          <pc:sldMk cId="1147287438" sldId="2146846087"/>
        </pc:sldMkLst>
      </pc:sldChg>
      <pc:sldChg chg="add del">
        <pc:chgData name="Katerine Schifino" userId="37bb67de-9fcf-4611-888c-7e5b58184a2a" providerId="ADAL" clId="{CF7A0CBC-B3CD-4DD1-B312-EBBA27D2AA89}" dt="2022-05-03T23:21:19.092" v="13" actId="47"/>
        <pc:sldMkLst>
          <pc:docMk/>
          <pc:sldMk cId="3576568090" sldId="2146846137"/>
        </pc:sldMkLst>
      </pc:sldChg>
      <pc:sldChg chg="add del">
        <pc:chgData name="Katerine Schifino" userId="37bb67de-9fcf-4611-888c-7e5b58184a2a" providerId="ADAL" clId="{CF7A0CBC-B3CD-4DD1-B312-EBBA27D2AA89}" dt="2022-05-03T23:29:39.471" v="281" actId="47"/>
        <pc:sldMkLst>
          <pc:docMk/>
          <pc:sldMk cId="2729674122" sldId="2146846138"/>
        </pc:sldMkLst>
      </pc:sldChg>
      <pc:sldChg chg="add del">
        <pc:chgData name="Katerine Schifino" userId="37bb67de-9fcf-4611-888c-7e5b58184a2a" providerId="ADAL" clId="{CF7A0CBC-B3CD-4DD1-B312-EBBA27D2AA89}" dt="2022-05-03T23:26:10.901" v="164" actId="47"/>
        <pc:sldMkLst>
          <pc:docMk/>
          <pc:sldMk cId="3308792200" sldId="2146846139"/>
        </pc:sldMkLst>
      </pc:sldChg>
      <pc:sldChg chg="add del">
        <pc:chgData name="Katerine Schifino" userId="37bb67de-9fcf-4611-888c-7e5b58184a2a" providerId="ADAL" clId="{CF7A0CBC-B3CD-4DD1-B312-EBBA27D2AA89}" dt="2022-05-03T23:27:40.093" v="211" actId="47"/>
        <pc:sldMkLst>
          <pc:docMk/>
          <pc:sldMk cId="2318814632" sldId="2146846140"/>
        </pc:sldMkLst>
      </pc:sldChg>
      <pc:sldChg chg="addSp delSp modSp add del mod">
        <pc:chgData name="Katerine Schifino" userId="37bb67de-9fcf-4611-888c-7e5b58184a2a" providerId="ADAL" clId="{CF7A0CBC-B3CD-4DD1-B312-EBBA27D2AA89}" dt="2022-05-03T23:35:14.800" v="331" actId="1076"/>
        <pc:sldMkLst>
          <pc:docMk/>
          <pc:sldMk cId="202598649" sldId="2146846141"/>
        </pc:sldMkLst>
        <pc:spChg chg="add del mod">
          <ac:chgData name="Katerine Schifino" userId="37bb67de-9fcf-4611-888c-7e5b58184a2a" providerId="ADAL" clId="{CF7A0CBC-B3CD-4DD1-B312-EBBA27D2AA89}" dt="2022-05-03T23:30:15.411" v="287"/>
          <ac:spMkLst>
            <pc:docMk/>
            <pc:sldMk cId="202598649" sldId="2146846141"/>
            <ac:spMk id="22" creationId="{FC593070-F402-424B-B440-3C7EEB46E323}"/>
          </ac:spMkLst>
        </pc:spChg>
        <pc:spChg chg="mod">
          <ac:chgData name="Katerine Schifino" userId="37bb67de-9fcf-4611-888c-7e5b58184a2a" providerId="ADAL" clId="{CF7A0CBC-B3CD-4DD1-B312-EBBA27D2AA89}" dt="2022-05-03T23:29:48.061" v="282" actId="20577"/>
          <ac:spMkLst>
            <pc:docMk/>
            <pc:sldMk cId="202598649" sldId="2146846141"/>
            <ac:spMk id="51" creationId="{761E16A8-2197-4EF1-9759-E32402BBAAB2}"/>
          </ac:spMkLst>
        </pc:spChg>
        <pc:spChg chg="mod">
          <ac:chgData name="Katerine Schifino" userId="37bb67de-9fcf-4611-888c-7e5b58184a2a" providerId="ADAL" clId="{CF7A0CBC-B3CD-4DD1-B312-EBBA27D2AA89}" dt="2022-05-03T23:35:14.800" v="331" actId="1076"/>
          <ac:spMkLst>
            <pc:docMk/>
            <pc:sldMk cId="202598649" sldId="2146846141"/>
            <ac:spMk id="52" creationId="{F65A41A8-486C-49E1-A1BE-F0D6BC7A3152}"/>
          </ac:spMkLst>
        </pc:spChg>
        <pc:spChg chg="mod">
          <ac:chgData name="Katerine Schifino" userId="37bb67de-9fcf-4611-888c-7e5b58184a2a" providerId="ADAL" clId="{CF7A0CBC-B3CD-4DD1-B312-EBBA27D2AA89}" dt="2022-05-03T23:29:56.820" v="283"/>
          <ac:spMkLst>
            <pc:docMk/>
            <pc:sldMk cId="202598649" sldId="2146846141"/>
            <ac:spMk id="59" creationId="{422A93F6-EA38-4E0A-B73A-64A31DA215B7}"/>
          </ac:spMkLst>
        </pc:spChg>
        <pc:spChg chg="mod">
          <ac:chgData name="Katerine Schifino" userId="37bb67de-9fcf-4611-888c-7e5b58184a2a" providerId="ADAL" clId="{CF7A0CBC-B3CD-4DD1-B312-EBBA27D2AA89}" dt="2022-05-03T23:30:05.421" v="285" actId="20577"/>
          <ac:spMkLst>
            <pc:docMk/>
            <pc:sldMk cId="202598649" sldId="2146846141"/>
            <ac:spMk id="61" creationId="{C9C36564-731C-4B86-BEBD-F18FEC8B3262}"/>
          </ac:spMkLst>
        </pc:spChg>
        <pc:spChg chg="mod">
          <ac:chgData name="Katerine Schifino" userId="37bb67de-9fcf-4611-888c-7e5b58184a2a" providerId="ADAL" clId="{CF7A0CBC-B3CD-4DD1-B312-EBBA27D2AA89}" dt="2022-05-03T23:30:25.217" v="288"/>
          <ac:spMkLst>
            <pc:docMk/>
            <pc:sldMk cId="202598649" sldId="2146846141"/>
            <ac:spMk id="63" creationId="{826F8B44-A45F-4921-BA1C-BB16C2ACBC8D}"/>
          </ac:spMkLst>
        </pc:spChg>
        <pc:spChg chg="mod">
          <ac:chgData name="Katerine Schifino" userId="37bb67de-9fcf-4611-888c-7e5b58184a2a" providerId="ADAL" clId="{CF7A0CBC-B3CD-4DD1-B312-EBBA27D2AA89}" dt="2022-05-03T23:31:51.286" v="305" actId="15"/>
          <ac:spMkLst>
            <pc:docMk/>
            <pc:sldMk cId="202598649" sldId="2146846141"/>
            <ac:spMk id="66" creationId="{681673FD-1728-4EAC-B461-E6A26E7D5B58}"/>
          </ac:spMkLst>
        </pc:spChg>
        <pc:spChg chg="mod">
          <ac:chgData name="Katerine Schifino" userId="37bb67de-9fcf-4611-888c-7e5b58184a2a" providerId="ADAL" clId="{CF7A0CBC-B3CD-4DD1-B312-EBBA27D2AA89}" dt="2022-05-03T23:32:25.460" v="309" actId="12"/>
          <ac:spMkLst>
            <pc:docMk/>
            <pc:sldMk cId="202598649" sldId="2146846141"/>
            <ac:spMk id="67" creationId="{40468A0C-FBD1-4E98-A3DD-BDE0DE998A2A}"/>
          </ac:spMkLst>
        </pc:spChg>
        <pc:spChg chg="mod">
          <ac:chgData name="Katerine Schifino" userId="37bb67de-9fcf-4611-888c-7e5b58184a2a" providerId="ADAL" clId="{CF7A0CBC-B3CD-4DD1-B312-EBBA27D2AA89}" dt="2022-05-03T23:34:22.368" v="324" actId="20577"/>
          <ac:spMkLst>
            <pc:docMk/>
            <pc:sldMk cId="202598649" sldId="2146846141"/>
            <ac:spMk id="68" creationId="{F211D6F8-36F3-48C3-91A1-FB236F9BA408}"/>
          </ac:spMkLst>
        </pc:spChg>
        <pc:spChg chg="mod">
          <ac:chgData name="Katerine Schifino" userId="37bb67de-9fcf-4611-888c-7e5b58184a2a" providerId="ADAL" clId="{CF7A0CBC-B3CD-4DD1-B312-EBBA27D2AA89}" dt="2022-05-03T23:30:55.780" v="295"/>
          <ac:spMkLst>
            <pc:docMk/>
            <pc:sldMk cId="202598649" sldId="2146846141"/>
            <ac:spMk id="69" creationId="{391E7FE5-F827-43AB-AF69-B560CA81E82C}"/>
          </ac:spMkLst>
        </pc:spChg>
        <pc:spChg chg="mod">
          <ac:chgData name="Katerine Schifino" userId="37bb67de-9fcf-4611-888c-7e5b58184a2a" providerId="ADAL" clId="{CF7A0CBC-B3CD-4DD1-B312-EBBA27D2AA89}" dt="2022-05-03T23:30:40.272" v="290" actId="6549"/>
          <ac:spMkLst>
            <pc:docMk/>
            <pc:sldMk cId="202598649" sldId="2146846141"/>
            <ac:spMk id="70" creationId="{DAE71F83-9F04-4C4E-B16E-969DF16125E8}"/>
          </ac:spMkLst>
        </pc:spChg>
        <pc:spChg chg="mod">
          <ac:chgData name="Katerine Schifino" userId="37bb67de-9fcf-4611-888c-7e5b58184a2a" providerId="ADAL" clId="{CF7A0CBC-B3CD-4DD1-B312-EBBA27D2AA89}" dt="2022-05-03T23:32:35.199" v="311" actId="14100"/>
          <ac:spMkLst>
            <pc:docMk/>
            <pc:sldMk cId="202598649" sldId="2146846141"/>
            <ac:spMk id="71" creationId="{38556937-2D3B-4151-B2D9-D4B7177B52F3}"/>
          </ac:spMkLst>
        </pc:spChg>
        <pc:spChg chg="mod">
          <ac:chgData name="Katerine Schifino" userId="37bb67de-9fcf-4611-888c-7e5b58184a2a" providerId="ADAL" clId="{CF7A0CBC-B3CD-4DD1-B312-EBBA27D2AA89}" dt="2022-05-03T23:33:44.168" v="320" actId="1076"/>
          <ac:spMkLst>
            <pc:docMk/>
            <pc:sldMk cId="202598649" sldId="2146846141"/>
            <ac:spMk id="72" creationId="{EAED0996-E726-4806-A44B-EAFD7E03AD78}"/>
          </ac:spMkLst>
        </pc:spChg>
      </pc:sldChg>
      <pc:sldChg chg="add del">
        <pc:chgData name="Katerine Schifino" userId="37bb67de-9fcf-4611-888c-7e5b58184a2a" providerId="ADAL" clId="{CF7A0CBC-B3CD-4DD1-B312-EBBA27D2AA89}" dt="2022-05-03T23:20:04.879" v="5" actId="47"/>
        <pc:sldMkLst>
          <pc:docMk/>
          <pc:sldMk cId="2644167482" sldId="2146846142"/>
        </pc:sldMkLst>
      </pc:sldChg>
      <pc:sldChg chg="add">
        <pc:chgData name="Katerine Schifino" userId="37bb67de-9fcf-4611-888c-7e5b58184a2a" providerId="ADAL" clId="{CF7A0CBC-B3CD-4DD1-B312-EBBA27D2AA89}" dt="2022-05-03T23:21:01.435" v="10"/>
        <pc:sldMkLst>
          <pc:docMk/>
          <pc:sldMk cId="3025678761" sldId="2146846143"/>
        </pc:sldMkLst>
      </pc:sldChg>
      <pc:sldChg chg="modSp add mod modClrScheme chgLayout">
        <pc:chgData name="Katerine Schifino" userId="37bb67de-9fcf-4611-888c-7e5b58184a2a" providerId="ADAL" clId="{CF7A0CBC-B3CD-4DD1-B312-EBBA27D2AA89}" dt="2022-05-03T23:22:22.265" v="89" actId="1035"/>
        <pc:sldMkLst>
          <pc:docMk/>
          <pc:sldMk cId="4005143366" sldId="2146846144"/>
        </pc:sldMkLst>
        <pc:spChg chg="mod">
          <ac:chgData name="Katerine Schifino" userId="37bb67de-9fcf-4611-888c-7e5b58184a2a" providerId="ADAL" clId="{CF7A0CBC-B3CD-4DD1-B312-EBBA27D2AA89}" dt="2022-05-03T23:22:14.760" v="58" actId="1076"/>
          <ac:spMkLst>
            <pc:docMk/>
            <pc:sldMk cId="4005143366" sldId="2146846144"/>
            <ac:spMk id="6" creationId="{C3E24BFF-A0DB-4ECE-96D3-5EAB937B7323}"/>
          </ac:spMkLst>
        </pc:spChg>
        <pc:spChg chg="mod">
          <ac:chgData name="Katerine Schifino" userId="37bb67de-9fcf-4611-888c-7e5b58184a2a" providerId="ADAL" clId="{CF7A0CBC-B3CD-4DD1-B312-EBBA27D2AA89}" dt="2022-05-03T23:22:22.265" v="89" actId="1035"/>
          <ac:spMkLst>
            <pc:docMk/>
            <pc:sldMk cId="4005143366" sldId="2146846144"/>
            <ac:spMk id="9" creationId="{C46E46B2-8DA6-4180-BE6E-D6D94C9C18D5}"/>
          </ac:spMkLst>
        </pc:spChg>
        <pc:graphicFrameChg chg="mod">
          <ac:chgData name="Katerine Schifino" userId="37bb67de-9fcf-4611-888c-7e5b58184a2a" providerId="ADAL" clId="{CF7A0CBC-B3CD-4DD1-B312-EBBA27D2AA89}" dt="2022-05-03T23:22:22.265" v="89" actId="1035"/>
          <ac:graphicFrameMkLst>
            <pc:docMk/>
            <pc:sldMk cId="4005143366" sldId="2146846144"/>
            <ac:graphicFrameMk id="2" creationId="{90C4ECCF-9B28-475A-8668-643F413BD5F2}"/>
          </ac:graphicFrameMkLst>
        </pc:graphicFrameChg>
      </pc:sldChg>
      <pc:sldChg chg="modSp add mod modClrScheme chgLayout">
        <pc:chgData name="Katerine Schifino" userId="37bb67de-9fcf-4611-888c-7e5b58184a2a" providerId="ADAL" clId="{CF7A0CBC-B3CD-4DD1-B312-EBBA27D2AA89}" dt="2022-05-03T23:26:02.252" v="163" actId="113"/>
        <pc:sldMkLst>
          <pc:docMk/>
          <pc:sldMk cId="135655326" sldId="2146846145"/>
        </pc:sldMkLst>
        <pc:spChg chg="mod">
          <ac:chgData name="Katerine Schifino" userId="37bb67de-9fcf-4611-888c-7e5b58184a2a" providerId="ADAL" clId="{CF7A0CBC-B3CD-4DD1-B312-EBBA27D2AA89}" dt="2022-05-03T23:26:02.252" v="163" actId="113"/>
          <ac:spMkLst>
            <pc:docMk/>
            <pc:sldMk cId="135655326" sldId="2146846145"/>
            <ac:spMk id="9" creationId="{C46E46B2-8DA6-4180-BE6E-D6D94C9C18D5}"/>
          </ac:spMkLst>
        </pc:spChg>
        <pc:spChg chg="mod">
          <ac:chgData name="Katerine Schifino" userId="37bb67de-9fcf-4611-888c-7e5b58184a2a" providerId="ADAL" clId="{CF7A0CBC-B3CD-4DD1-B312-EBBA27D2AA89}" dt="2022-05-03T23:24:39.346" v="153" actId="20577"/>
          <ac:spMkLst>
            <pc:docMk/>
            <pc:sldMk cId="135655326" sldId="2146846145"/>
            <ac:spMk id="10" creationId="{BD334509-8071-4DDA-8AA5-4A11F7D38E21}"/>
          </ac:spMkLst>
        </pc:spChg>
      </pc:sldChg>
      <pc:sldChg chg="addSp delSp modSp add mod modClrScheme chgLayout">
        <pc:chgData name="Katerine Schifino" userId="37bb67de-9fcf-4611-888c-7e5b58184a2a" providerId="ADAL" clId="{CF7A0CBC-B3CD-4DD1-B312-EBBA27D2AA89}" dt="2022-05-03T23:27:34.045" v="210" actId="478"/>
        <pc:sldMkLst>
          <pc:docMk/>
          <pc:sldMk cId="3597937637" sldId="2146846146"/>
        </pc:sldMkLst>
        <pc:spChg chg="mod">
          <ac:chgData name="Katerine Schifino" userId="37bb67de-9fcf-4611-888c-7e5b58184a2a" providerId="ADAL" clId="{CF7A0CBC-B3CD-4DD1-B312-EBBA27D2AA89}" dt="2022-05-03T23:27:27.205" v="178" actId="164"/>
          <ac:spMkLst>
            <pc:docMk/>
            <pc:sldMk cId="3597937637" sldId="2146846146"/>
            <ac:spMk id="2" creationId="{68EA5FB2-E061-4F05-8F80-5F71CF64B337}"/>
          </ac:spMkLst>
        </pc:spChg>
        <pc:spChg chg="mod">
          <ac:chgData name="Katerine Schifino" userId="37bb67de-9fcf-4611-888c-7e5b58184a2a" providerId="ADAL" clId="{CF7A0CBC-B3CD-4DD1-B312-EBBA27D2AA89}" dt="2022-05-03T23:27:23.586" v="177" actId="15"/>
          <ac:spMkLst>
            <pc:docMk/>
            <pc:sldMk cId="3597937637" sldId="2146846146"/>
            <ac:spMk id="11" creationId="{4E24824E-F86D-4BF1-A73F-457CD5F4A18D}"/>
          </ac:spMkLst>
        </pc:spChg>
        <pc:spChg chg="del">
          <ac:chgData name="Katerine Schifino" userId="37bb67de-9fcf-4611-888c-7e5b58184a2a" providerId="ADAL" clId="{CF7A0CBC-B3CD-4DD1-B312-EBBA27D2AA89}" dt="2022-05-03T23:27:34.045" v="210" actId="478"/>
          <ac:spMkLst>
            <pc:docMk/>
            <pc:sldMk cId="3597937637" sldId="2146846146"/>
            <ac:spMk id="12" creationId="{CFF70544-672F-42EA-B13B-30140B1916E6}"/>
          </ac:spMkLst>
        </pc:spChg>
        <pc:grpChg chg="add mod">
          <ac:chgData name="Katerine Schifino" userId="37bb67de-9fcf-4611-888c-7e5b58184a2a" providerId="ADAL" clId="{CF7A0CBC-B3CD-4DD1-B312-EBBA27D2AA89}" dt="2022-05-03T23:27:30.863" v="209" actId="1035"/>
          <ac:grpSpMkLst>
            <pc:docMk/>
            <pc:sldMk cId="3597937637" sldId="2146846146"/>
            <ac:grpSpMk id="3" creationId="{37E4250A-28E7-4EFA-8BE6-A24A504532E5}"/>
          </ac:grpSpMkLst>
        </pc:grpChg>
        <pc:picChg chg="mod">
          <ac:chgData name="Katerine Schifino" userId="37bb67de-9fcf-4611-888c-7e5b58184a2a" providerId="ADAL" clId="{CF7A0CBC-B3CD-4DD1-B312-EBBA27D2AA89}" dt="2022-05-03T23:27:27.205" v="178" actId="164"/>
          <ac:picMkLst>
            <pc:docMk/>
            <pc:sldMk cId="3597937637" sldId="2146846146"/>
            <ac:picMk id="4" creationId="{FE185935-83F9-42E2-BE95-6DF020A0FF0E}"/>
          </ac:picMkLst>
        </pc:picChg>
      </pc:sldChg>
      <pc:sldChg chg="modSp add mod modClrScheme chgLayout">
        <pc:chgData name="Katerine Schifino" userId="37bb67de-9fcf-4611-888c-7e5b58184a2a" providerId="ADAL" clId="{CF7A0CBC-B3CD-4DD1-B312-EBBA27D2AA89}" dt="2022-05-03T23:29:31.586" v="279" actId="20577"/>
        <pc:sldMkLst>
          <pc:docMk/>
          <pc:sldMk cId="1697753168" sldId="2146846147"/>
        </pc:sldMkLst>
        <pc:spChg chg="mod">
          <ac:chgData name="Katerine Schifino" userId="37bb67de-9fcf-4611-888c-7e5b58184a2a" providerId="ADAL" clId="{CF7A0CBC-B3CD-4DD1-B312-EBBA27D2AA89}" dt="2022-05-03T23:29:31.586" v="279" actId="20577"/>
          <ac:spMkLst>
            <pc:docMk/>
            <pc:sldMk cId="1697753168" sldId="2146846147"/>
            <ac:spMk id="8" creationId="{F3692B0D-82AC-41A6-A5BD-1A4B9AC9B985}"/>
          </ac:spMkLst>
        </pc:spChg>
      </pc:sldChg>
      <pc:sldChg chg="new del">
        <pc:chgData name="Katerine Schifino" userId="37bb67de-9fcf-4611-888c-7e5b58184a2a" providerId="ADAL" clId="{CF7A0CBC-B3CD-4DD1-B312-EBBA27D2AA89}" dt="2022-05-03T23:29:38.374" v="280" actId="47"/>
        <pc:sldMkLst>
          <pc:docMk/>
          <pc:sldMk cId="3407558849" sldId="2146846148"/>
        </pc:sldMkLst>
      </pc:sldChg>
      <pc:sldChg chg="new del">
        <pc:chgData name="Katerine Schifino" userId="37bb67de-9fcf-4611-888c-7e5b58184a2a" providerId="ADAL" clId="{CF7A0CBC-B3CD-4DD1-B312-EBBA27D2AA89}" dt="2022-05-03T23:28:51.424" v="227" actId="47"/>
        <pc:sldMkLst>
          <pc:docMk/>
          <pc:sldMk cId="3657268644" sldId="2146846148"/>
        </pc:sldMkLst>
      </pc:sldChg>
      <pc:sldMasterChg chg="addSldLayout delSldLayout">
        <pc:chgData name="Katerine Schifino" userId="37bb67de-9fcf-4611-888c-7e5b58184a2a" providerId="ADAL" clId="{CF7A0CBC-B3CD-4DD1-B312-EBBA27D2AA89}" dt="2022-05-03T23:21:04.162" v="11" actId="47"/>
        <pc:sldMasterMkLst>
          <pc:docMk/>
          <pc:sldMasterMk cId="2023246918" sldId="2147483660"/>
        </pc:sldMasterMkLst>
        <pc:sldLayoutChg chg="add del">
          <pc:chgData name="Katerine Schifino" userId="37bb67de-9fcf-4611-888c-7e5b58184a2a" providerId="ADAL" clId="{CF7A0CBC-B3CD-4DD1-B312-EBBA27D2AA89}" dt="2022-05-03T23:21:04.162" v="11" actId="47"/>
          <pc:sldLayoutMkLst>
            <pc:docMk/>
            <pc:sldMasterMk cId="2023246918" sldId="2147483660"/>
            <pc:sldLayoutMk cId="2973053143" sldId="2147483991"/>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23E4BD6-E97A-46A4-AA30-568852B539B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_tradnl"/>
          </a:p>
        </p:txBody>
      </p:sp>
      <p:sp>
        <p:nvSpPr>
          <p:cNvPr id="3" name="Date Placeholder 2">
            <a:extLst>
              <a:ext uri="{FF2B5EF4-FFF2-40B4-BE49-F238E27FC236}">
                <a16:creationId xmlns:a16="http://schemas.microsoft.com/office/drawing/2014/main" id="{58774AE6-0DA8-408F-8134-DDABC2EE87C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287E9E-D2F8-4C1C-BC9F-E2CABAE66FE1}" type="datetimeFigureOut">
              <a:rPr lang="es-ES_tradnl" smtClean="0"/>
              <a:t>03/05/2022</a:t>
            </a:fld>
            <a:endParaRPr lang="es-ES_tradnl"/>
          </a:p>
        </p:txBody>
      </p:sp>
      <p:sp>
        <p:nvSpPr>
          <p:cNvPr id="4" name="Footer Placeholder 3">
            <a:extLst>
              <a:ext uri="{FF2B5EF4-FFF2-40B4-BE49-F238E27FC236}">
                <a16:creationId xmlns:a16="http://schemas.microsoft.com/office/drawing/2014/main" id="{1BDC6ADC-9CF6-47F3-86B4-4F7930AEF62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_tradnl"/>
          </a:p>
        </p:txBody>
      </p:sp>
      <p:sp>
        <p:nvSpPr>
          <p:cNvPr id="5" name="Slide Number Placeholder 4">
            <a:extLst>
              <a:ext uri="{FF2B5EF4-FFF2-40B4-BE49-F238E27FC236}">
                <a16:creationId xmlns:a16="http://schemas.microsoft.com/office/drawing/2014/main" id="{EF5CB9E5-1AC4-4BEF-9A42-4B32FD446B4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3A63E78-60CA-441E-BA25-D241C8EDB6AE}" type="slidenum">
              <a:rPr lang="es-ES_tradnl" smtClean="0"/>
              <a:t>‹#›</a:t>
            </a:fld>
            <a:endParaRPr lang="es-ES_tradnl"/>
          </a:p>
        </p:txBody>
      </p:sp>
    </p:spTree>
    <p:extLst>
      <p:ext uri="{BB962C8B-B14F-4D97-AF65-F5344CB8AC3E}">
        <p14:creationId xmlns:p14="http://schemas.microsoft.com/office/powerpoint/2010/main" val="35576315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0D72FAD-8778-405C-8921-79F3C25589D4}" type="datetimeFigureOut">
              <a:rPr lang="es-MX" smtClean="0"/>
              <a:t>03/05/2022</a:t>
            </a:fld>
            <a:endParaRPr lang="es-MX"/>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325E69-1CAA-46A9-A4D5-F2855D38AA5E}" type="slidenum">
              <a:rPr lang="es-MX" smtClean="0"/>
              <a:t>‹#›</a:t>
            </a:fld>
            <a:endParaRPr lang="es-MX"/>
          </a:p>
        </p:txBody>
      </p:sp>
    </p:spTree>
    <p:extLst>
      <p:ext uri="{BB962C8B-B14F-4D97-AF65-F5344CB8AC3E}">
        <p14:creationId xmlns:p14="http://schemas.microsoft.com/office/powerpoint/2010/main" val="38593068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419"/>
          </a:p>
        </p:txBody>
      </p:sp>
      <p:sp>
        <p:nvSpPr>
          <p:cNvPr id="4" name="Marcador de número de diapositiva 3"/>
          <p:cNvSpPr>
            <a:spLocks noGrp="1"/>
          </p:cNvSpPr>
          <p:nvPr>
            <p:ph type="sldNum" sz="quarter" idx="5"/>
          </p:nvPr>
        </p:nvSpPr>
        <p:spPr/>
        <p:txBody>
          <a:bodyPr/>
          <a:lstStyle/>
          <a:p>
            <a:fld id="{0650A416-AD79-4A78-B265-0B969D69B126}" type="slidenum">
              <a:rPr lang="es-419" smtClean="0"/>
              <a:t>1</a:t>
            </a:fld>
            <a:endParaRPr lang="es-419"/>
          </a:p>
        </p:txBody>
      </p:sp>
    </p:spTree>
    <p:extLst>
      <p:ext uri="{BB962C8B-B14F-4D97-AF65-F5344CB8AC3E}">
        <p14:creationId xmlns:p14="http://schemas.microsoft.com/office/powerpoint/2010/main" val="1422707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2</a:t>
            </a:fld>
            <a:endParaRPr lang="es-MX"/>
          </a:p>
        </p:txBody>
      </p:sp>
    </p:spTree>
    <p:extLst>
      <p:ext uri="{BB962C8B-B14F-4D97-AF65-F5344CB8AC3E}">
        <p14:creationId xmlns:p14="http://schemas.microsoft.com/office/powerpoint/2010/main" val="12244349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3</a:t>
            </a:fld>
            <a:endParaRPr lang="es-MX"/>
          </a:p>
        </p:txBody>
      </p:sp>
    </p:spTree>
    <p:extLst>
      <p:ext uri="{BB962C8B-B14F-4D97-AF65-F5344CB8AC3E}">
        <p14:creationId xmlns:p14="http://schemas.microsoft.com/office/powerpoint/2010/main" val="1044971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4</a:t>
            </a:fld>
            <a:endParaRPr lang="es-MX"/>
          </a:p>
        </p:txBody>
      </p:sp>
    </p:spTree>
    <p:extLst>
      <p:ext uri="{BB962C8B-B14F-4D97-AF65-F5344CB8AC3E}">
        <p14:creationId xmlns:p14="http://schemas.microsoft.com/office/powerpoint/2010/main" val="27443856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5"/>
          </p:nvPr>
        </p:nvSpPr>
        <p:spPr/>
        <p:txBody>
          <a:bodyPr/>
          <a:lstStyle/>
          <a:p>
            <a:fld id="{BB325E69-1CAA-46A9-A4D5-F2855D38AA5E}" type="slidenum">
              <a:rPr lang="es-MX" smtClean="0"/>
              <a:t>5</a:t>
            </a:fld>
            <a:endParaRPr lang="es-MX"/>
          </a:p>
        </p:txBody>
      </p:sp>
    </p:spTree>
    <p:extLst>
      <p:ext uri="{BB962C8B-B14F-4D97-AF65-F5344CB8AC3E}">
        <p14:creationId xmlns:p14="http://schemas.microsoft.com/office/powerpoint/2010/main" val="22377803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7</a:t>
            </a:fld>
            <a:endParaRPr lang="es-MX"/>
          </a:p>
        </p:txBody>
      </p:sp>
    </p:spTree>
    <p:extLst>
      <p:ext uri="{BB962C8B-B14F-4D97-AF65-F5344CB8AC3E}">
        <p14:creationId xmlns:p14="http://schemas.microsoft.com/office/powerpoint/2010/main" val="33051353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8_Standard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81F21DB-5843-46A9-879C-3A5E8A7D9224}"/>
              </a:ext>
            </a:extLst>
          </p:cNvPr>
          <p:cNvGraphicFramePr>
            <a:graphicFrameLocks noChangeAspect="1"/>
          </p:cNvGraphicFramePr>
          <p:nvPr userDrawn="1">
            <p:custDataLst>
              <p:tags r:id="rId1"/>
            </p:custDataLst>
            <p:extLst>
              <p:ext uri="{D42A27DB-BD31-4B8C-83A1-F6EECF244321}">
                <p14:modId xmlns:p14="http://schemas.microsoft.com/office/powerpoint/2010/main" val="1114428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7" name="Object 6" hidden="1">
                        <a:extLst>
                          <a:ext uri="{FF2B5EF4-FFF2-40B4-BE49-F238E27FC236}">
                            <a16:creationId xmlns:a16="http://schemas.microsoft.com/office/drawing/2014/main" id="{381F21DB-5843-46A9-879C-3A5E8A7D92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F176DC3-498F-4458-81DC-BF5F57B40C46}"/>
              </a:ext>
            </a:extLst>
          </p:cNvPr>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3200"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601" y="461840"/>
            <a:ext cx="10972800" cy="706698"/>
          </a:xfrm>
        </p:spPr>
        <p:txBody>
          <a:bodyPr anchor="b"/>
          <a:lstStyle>
            <a:lvl1pPr>
              <a:defRPr sz="32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1273101"/>
            <a:ext cx="1800000" cy="0"/>
          </a:xfrm>
          <a:prstGeom prst="line">
            <a:avLst/>
          </a:prstGeom>
          <a:noFill/>
          <a:ln w="57150" cap="flat" cmpd="sng" algn="ctr">
            <a:solidFill>
              <a:srgbClr val="EA3A55"/>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7507048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32727365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rgbClr val="EA3A55"/>
                </a:solidFill>
                <a:latin typeface="Georgia" panose="02040502050405020303" pitchFamily="18" charset="0"/>
              </a:rPr>
              <a:t>“ </a:t>
            </a:r>
          </a:p>
        </p:txBody>
      </p:sp>
    </p:spTree>
    <p:extLst>
      <p:ext uri="{BB962C8B-B14F-4D97-AF65-F5344CB8AC3E}">
        <p14:creationId xmlns:p14="http://schemas.microsoft.com/office/powerpoint/2010/main" val="25845879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Empty">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B34AE16-8082-4E8F-A152-7D608DAFC3CE}"/>
              </a:ext>
            </a:extLst>
          </p:cNvPr>
          <p:cNvCxnSpPr>
            <a:cxnSpLocks/>
          </p:cNvCxnSpPr>
          <p:nvPr userDrawn="1"/>
        </p:nvCxnSpPr>
        <p:spPr>
          <a:xfrm>
            <a:off x="1290587" y="1233035"/>
            <a:ext cx="7160394" cy="0"/>
          </a:xfrm>
          <a:prstGeom prst="line">
            <a:avLst/>
          </a:prstGeom>
          <a:ln w="9525">
            <a:solidFill>
              <a:srgbClr val="EA3A55"/>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27933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59352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_ 0 All White">
    <p:spTree>
      <p:nvGrpSpPr>
        <p:cNvPr id="1" name=""/>
        <p:cNvGrpSpPr/>
        <p:nvPr/>
      </p:nvGrpSpPr>
      <p:grpSpPr>
        <a:xfrm>
          <a:off x="0" y="0"/>
          <a:ext cx="0" cy="0"/>
          <a:chOff x="0" y="0"/>
          <a:chExt cx="0" cy="0"/>
        </a:xfrm>
      </p:grpSpPr>
      <p:pic>
        <p:nvPicPr>
          <p:cNvPr id="3" name="Imagen 15">
            <a:extLst>
              <a:ext uri="{FF2B5EF4-FFF2-40B4-BE49-F238E27FC236}">
                <a16:creationId xmlns:a16="http://schemas.microsoft.com/office/drawing/2014/main" id="{A59629DD-CFAC-4F97-A915-022FA1A6B39C}"/>
              </a:ext>
            </a:extLst>
          </p:cNvPr>
          <p:cNvPicPr>
            <a:picLocks noChangeAspect="1"/>
          </p:cNvPicPr>
          <p:nvPr userDrawn="1"/>
        </p:nvPicPr>
        <p:blipFill>
          <a:blip r:embed="rId2"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10478607" y="206076"/>
            <a:ext cx="1456965" cy="361864"/>
          </a:xfrm>
          <a:prstGeom prst="rect">
            <a:avLst/>
          </a:prstGeom>
          <a:noFill/>
        </p:spPr>
      </p:pic>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1192118"/>
            <a:ext cx="0" cy="356260"/>
          </a:xfrm>
          <a:prstGeom prst="line">
            <a:avLst/>
          </a:prstGeom>
          <a:noFill/>
          <a:ln w="76200" cap="flat" cmpd="sng" algn="ctr">
            <a:solidFill>
              <a:srgbClr val="EA3A55"/>
            </a:solidFill>
            <a:prstDash val="solid"/>
            <a:miter lim="800000"/>
          </a:ln>
          <a:effectLst/>
        </p:spPr>
      </p:cxnSp>
    </p:spTree>
    <p:extLst>
      <p:ext uri="{BB962C8B-B14F-4D97-AF65-F5344CB8AC3E}">
        <p14:creationId xmlns:p14="http://schemas.microsoft.com/office/powerpoint/2010/main" val="14460751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1_ 0 All White">
    <p:spTree>
      <p:nvGrpSpPr>
        <p:cNvPr id="1" name=""/>
        <p:cNvGrpSpPr/>
        <p:nvPr/>
      </p:nvGrpSpPr>
      <p:grpSpPr>
        <a:xfrm>
          <a:off x="0" y="0"/>
          <a:ext cx="0" cy="0"/>
          <a:chOff x="0" y="0"/>
          <a:chExt cx="0" cy="0"/>
        </a:xfrm>
      </p:grpSpPr>
      <p:pic>
        <p:nvPicPr>
          <p:cNvPr id="3" name="Imagen 15">
            <a:extLst>
              <a:ext uri="{FF2B5EF4-FFF2-40B4-BE49-F238E27FC236}">
                <a16:creationId xmlns:a16="http://schemas.microsoft.com/office/drawing/2014/main" id="{A59629DD-CFAC-4F97-A915-022FA1A6B39C}"/>
              </a:ext>
            </a:extLst>
          </p:cNvPr>
          <p:cNvPicPr>
            <a:picLocks noChangeAspect="1"/>
          </p:cNvPicPr>
          <p:nvPr userDrawn="1"/>
        </p:nvPicPr>
        <p:blipFill>
          <a:blip r:embed="rId2"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10478607" y="206076"/>
            <a:ext cx="1456965" cy="361864"/>
          </a:xfrm>
          <a:prstGeom prst="rect">
            <a:avLst/>
          </a:prstGeom>
          <a:noFill/>
        </p:spPr>
      </p:pic>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220568"/>
            <a:ext cx="0" cy="356260"/>
          </a:xfrm>
          <a:prstGeom prst="line">
            <a:avLst/>
          </a:prstGeom>
          <a:noFill/>
          <a:ln w="76200" cap="flat" cmpd="sng" algn="ctr">
            <a:solidFill>
              <a:srgbClr val="EA3A55"/>
            </a:solidFill>
            <a:prstDash val="solid"/>
            <a:miter lim="800000"/>
          </a:ln>
          <a:effectLst/>
        </p:spPr>
      </p:cxnSp>
    </p:spTree>
    <p:extLst>
      <p:ext uri="{BB962C8B-B14F-4D97-AF65-F5344CB8AC3E}">
        <p14:creationId xmlns:p14="http://schemas.microsoft.com/office/powerpoint/2010/main" val="21349287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0_ 0 All White">
    <p:spTree>
      <p:nvGrpSpPr>
        <p:cNvPr id="1" name=""/>
        <p:cNvGrpSpPr/>
        <p:nvPr/>
      </p:nvGrpSpPr>
      <p:grpSpPr>
        <a:xfrm>
          <a:off x="0" y="0"/>
          <a:ext cx="0" cy="0"/>
          <a:chOff x="0" y="0"/>
          <a:chExt cx="0" cy="0"/>
        </a:xfrm>
      </p:grpSpPr>
      <p:pic>
        <p:nvPicPr>
          <p:cNvPr id="3" name="Imagen 15">
            <a:extLst>
              <a:ext uri="{FF2B5EF4-FFF2-40B4-BE49-F238E27FC236}">
                <a16:creationId xmlns:a16="http://schemas.microsoft.com/office/drawing/2014/main" id="{A59629DD-CFAC-4F97-A915-022FA1A6B39C}"/>
              </a:ext>
            </a:extLst>
          </p:cNvPr>
          <p:cNvPicPr>
            <a:picLocks noChangeAspect="1"/>
          </p:cNvPicPr>
          <p:nvPr userDrawn="1"/>
        </p:nvPicPr>
        <p:blipFill>
          <a:blip r:embed="rId2"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10478607" y="206076"/>
            <a:ext cx="1456965" cy="361864"/>
          </a:xfrm>
          <a:prstGeom prst="rect">
            <a:avLst/>
          </a:prstGeom>
          <a:noFill/>
        </p:spPr>
      </p:pic>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1577130"/>
            <a:ext cx="0" cy="356260"/>
          </a:xfrm>
          <a:prstGeom prst="line">
            <a:avLst/>
          </a:prstGeom>
          <a:noFill/>
          <a:ln w="76200" cap="flat" cmpd="sng" algn="ctr">
            <a:solidFill>
              <a:srgbClr val="EA3A55"/>
            </a:solidFill>
            <a:prstDash val="solid"/>
            <a:miter lim="800000"/>
          </a:ln>
          <a:effectLst/>
        </p:spPr>
      </p:cxnSp>
    </p:spTree>
    <p:extLst>
      <p:ext uri="{BB962C8B-B14F-4D97-AF65-F5344CB8AC3E}">
        <p14:creationId xmlns:p14="http://schemas.microsoft.com/office/powerpoint/2010/main" val="34570632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 0 All White">
    <p:spTree>
      <p:nvGrpSpPr>
        <p:cNvPr id="1" name=""/>
        <p:cNvGrpSpPr/>
        <p:nvPr/>
      </p:nvGrpSpPr>
      <p:grpSpPr>
        <a:xfrm>
          <a:off x="0" y="0"/>
          <a:ext cx="0" cy="0"/>
          <a:chOff x="0" y="0"/>
          <a:chExt cx="0" cy="0"/>
        </a:xfrm>
      </p:grpSpPr>
      <p:pic>
        <p:nvPicPr>
          <p:cNvPr id="3" name="Imagen 15">
            <a:extLst>
              <a:ext uri="{FF2B5EF4-FFF2-40B4-BE49-F238E27FC236}">
                <a16:creationId xmlns:a16="http://schemas.microsoft.com/office/drawing/2014/main" id="{A59629DD-CFAC-4F97-A915-022FA1A6B39C}"/>
              </a:ext>
            </a:extLst>
          </p:cNvPr>
          <p:cNvPicPr>
            <a:picLocks noChangeAspect="1"/>
          </p:cNvPicPr>
          <p:nvPr userDrawn="1"/>
        </p:nvPicPr>
        <p:blipFill>
          <a:blip r:embed="rId2"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a:off x="10478607" y="206076"/>
            <a:ext cx="1456965" cy="361864"/>
          </a:xfrm>
          <a:prstGeom prst="rect">
            <a:avLst/>
          </a:prstGeom>
          <a:noFill/>
        </p:spPr>
      </p:pic>
    </p:spTree>
    <p:extLst>
      <p:ext uri="{BB962C8B-B14F-4D97-AF65-F5344CB8AC3E}">
        <p14:creationId xmlns:p14="http://schemas.microsoft.com/office/powerpoint/2010/main" val="27594104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281CDC-D1D4-4F04-9840-456D23352707}"/>
              </a:ext>
            </a:extLst>
          </p:cNvPr>
          <p:cNvGraphicFramePr>
            <a:graphicFrameLocks noChangeAspect="1"/>
          </p:cNvGraphicFramePr>
          <p:nvPr userDrawn="1">
            <p:custDataLst>
              <p:tags r:id="rId11"/>
            </p:custDataLst>
            <p:extLst>
              <p:ext uri="{D42A27DB-BD31-4B8C-83A1-F6EECF244321}">
                <p14:modId xmlns:p14="http://schemas.microsoft.com/office/powerpoint/2010/main" val="245677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98" imgH="499" progId="TCLayout.ActiveDocument.1">
                  <p:embed/>
                </p:oleObj>
              </mc:Choice>
              <mc:Fallback>
                <p:oleObj name="think-cell Slide" r:id="rId13" imgW="498" imgH="499" progId="TCLayout.ActiveDocument.1">
                  <p:embed/>
                  <p:pic>
                    <p:nvPicPr>
                      <p:cNvPr id="5" name="Object 4" hidden="1">
                        <a:extLst>
                          <a:ext uri="{FF2B5EF4-FFF2-40B4-BE49-F238E27FC236}">
                            <a16:creationId xmlns:a16="http://schemas.microsoft.com/office/drawing/2014/main" id="{0A281CDC-D1D4-4F04-9840-456D2335270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1BD1DB-0BED-4B26-9D4D-918AD44E57CF}"/>
              </a:ext>
            </a:extLst>
          </p:cNvPr>
          <p:cNvSpPr/>
          <p:nvPr userDrawn="1">
            <p:custDataLst>
              <p:tags r:id="rId1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9"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23246918"/>
      </p:ext>
    </p:extLst>
  </p:cSld>
  <p:clrMap bg1="lt1" tx1="dk1" bg2="lt2" tx2="dk2" accent1="accent1" accent2="accent2" accent3="accent3" accent4="accent4" accent5="accent5" accent6="accent6" hlink="hlink" folHlink="folHlink"/>
  <p:sldLayoutIdLst>
    <p:sldLayoutId id="2147483712" r:id="rId1"/>
    <p:sldLayoutId id="2147483670" r:id="rId2"/>
    <p:sldLayoutId id="2147483699" r:id="rId3"/>
    <p:sldLayoutId id="2147483711" r:id="rId4"/>
    <p:sldLayoutId id="2147483985" r:id="rId5"/>
    <p:sldLayoutId id="2147483986" r:id="rId6"/>
    <p:sldLayoutId id="2147483990" r:id="rId7"/>
    <p:sldLayoutId id="2147483989" r:id="rId8"/>
    <p:sldLayoutId id="2147483987" r:id="rId9"/>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6.png"/><Relationship Id="rId5" Type="http://schemas.openxmlformats.org/officeDocument/2006/relationships/image" Target="../media/image5.sv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8.sv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10.sv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B93BF36-213B-47FF-AD74-12BD8DA044F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Marcador de texto 5">
            <a:extLst>
              <a:ext uri="{FF2B5EF4-FFF2-40B4-BE49-F238E27FC236}">
                <a16:creationId xmlns:a16="http://schemas.microsoft.com/office/drawing/2014/main" id="{4F9DB30C-B311-4C6B-A32E-4858E3288E77}"/>
              </a:ext>
            </a:extLst>
          </p:cNvPr>
          <p:cNvSpPr txBox="1">
            <a:spLocks/>
          </p:cNvSpPr>
          <p:nvPr/>
        </p:nvSpPr>
        <p:spPr>
          <a:xfrm>
            <a:off x="751791" y="2167546"/>
            <a:ext cx="10413514" cy="4064812"/>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s-ES_tradnl" sz="4400" cap="all">
                <a:solidFill>
                  <a:srgbClr val="453192"/>
                </a:solidFill>
                <a:latin typeface="Arial"/>
                <a:cs typeface="Arial"/>
              </a:rPr>
              <a:t>CHALLENGE</a:t>
            </a:r>
          </a:p>
          <a:p>
            <a:r>
              <a:rPr lang="es-ES_tradnl" sz="4800" cap="all">
                <a:solidFill>
                  <a:srgbClr val="453192"/>
                </a:solidFill>
                <a:highlight>
                  <a:srgbClr val="FFFFFF"/>
                </a:highlight>
                <a:latin typeface="Arial"/>
                <a:cs typeface="Arial"/>
              </a:rPr>
              <a:t>Crescendo juntas</a:t>
            </a:r>
          </a:p>
          <a:p>
            <a:r>
              <a:rPr lang="pt-BR" sz="4800" cap="all" dirty="0">
                <a:solidFill>
                  <a:srgbClr val="453192"/>
                </a:solidFill>
                <a:highlight>
                  <a:srgbClr val="FFFFFF"/>
                </a:highlight>
                <a:latin typeface="Arial"/>
                <a:cs typeface="Arial"/>
              </a:rPr>
              <a:t>Nas</a:t>
            </a:r>
            <a:r>
              <a:rPr lang="es-ES_tradnl" sz="4800" cap="all">
                <a:solidFill>
                  <a:srgbClr val="453192"/>
                </a:solidFill>
                <a:highlight>
                  <a:srgbClr val="FFFFFF"/>
                </a:highlight>
                <a:latin typeface="Arial"/>
                <a:cs typeface="Arial"/>
              </a:rPr>
              <a:t> américas</a:t>
            </a:r>
          </a:p>
          <a:p>
            <a:r>
              <a:rPr lang="pt-BR" b="0" cap="all">
                <a:solidFill>
                  <a:schemeClr val="bg1"/>
                </a:solidFill>
                <a:latin typeface="Arial"/>
                <a:cs typeface="Arial"/>
              </a:rPr>
              <a:t>Desafio da Transformação Digital para a Internacionalização</a:t>
            </a:r>
          </a:p>
          <a:p>
            <a:r>
              <a:rPr lang="es-ES_tradnl" b="0" cap="all">
                <a:solidFill>
                  <a:schemeClr val="bg1"/>
                </a:solidFill>
                <a:latin typeface="Arial"/>
                <a:cs typeface="Arial"/>
              </a:rPr>
              <a:t> </a:t>
            </a:r>
          </a:p>
        </p:txBody>
      </p:sp>
      <p:pic>
        <p:nvPicPr>
          <p:cNvPr id="10" name="Gráfico 9">
            <a:extLst>
              <a:ext uri="{FF2B5EF4-FFF2-40B4-BE49-F238E27FC236}">
                <a16:creationId xmlns:a16="http://schemas.microsoft.com/office/drawing/2014/main" id="{C814B732-139D-411F-B25D-7826D09F8C40}"/>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695" y="1010652"/>
            <a:ext cx="2955591" cy="1690939"/>
          </a:xfrm>
          <a:prstGeom prst="rect">
            <a:avLst/>
          </a:prstGeom>
        </p:spPr>
      </p:pic>
      <p:pic>
        <p:nvPicPr>
          <p:cNvPr id="13" name="Picture 6">
            <a:extLst>
              <a:ext uri="{FF2B5EF4-FFF2-40B4-BE49-F238E27FC236}">
                <a16:creationId xmlns:a16="http://schemas.microsoft.com/office/drawing/2014/main" id="{B2FCE2D2-FCC1-4111-8F70-065A2D2577D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26225" y="5620207"/>
            <a:ext cx="1388232" cy="587329"/>
          </a:xfrm>
          <a:prstGeom prst="rect">
            <a:avLst/>
          </a:prstGeom>
        </p:spPr>
      </p:pic>
    </p:spTree>
    <p:extLst>
      <p:ext uri="{BB962C8B-B14F-4D97-AF65-F5344CB8AC3E}">
        <p14:creationId xmlns:p14="http://schemas.microsoft.com/office/powerpoint/2010/main" val="30256787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3E24BFF-A0DB-4ECE-96D3-5EAB937B7323}"/>
              </a:ext>
            </a:extLst>
          </p:cNvPr>
          <p:cNvSpPr txBox="1"/>
          <p:nvPr/>
        </p:nvSpPr>
        <p:spPr>
          <a:xfrm>
            <a:off x="2345267" y="28669"/>
            <a:ext cx="6959600" cy="1824923"/>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GB" sz="4000" b="1" dirty="0">
                <a:solidFill>
                  <a:prstClr val="white"/>
                </a:solidFill>
                <a:latin typeface="Arial" panose="020B0604020202020204" pitchFamily="34" charset="0"/>
                <a:cs typeface="Arial" panose="020B0604020202020204" pitchFamily="34" charset="0"/>
              </a:rPr>
              <a:t>DESAFIO EM GRUPO</a:t>
            </a:r>
            <a:r>
              <a:rPr lang="es-CO" sz="4000" b="1" dirty="0">
                <a:solidFill>
                  <a:srgbClr val="000000"/>
                </a:solidFill>
                <a:latin typeface="Arial" panose="020B0604020202020204" pitchFamily="34" charset="0"/>
                <a:cs typeface="Arial" panose="020B0604020202020204" pitchFamily="34" charset="0"/>
              </a:rPr>
              <a:t> </a:t>
            </a:r>
            <a:r>
              <a:rPr lang="es-CO" sz="4000" b="1" dirty="0">
                <a:solidFill>
                  <a:schemeClr val="bg1"/>
                </a:solidFill>
                <a:latin typeface="Arial" panose="020B0604020202020204" pitchFamily="34" charset="0"/>
                <a:cs typeface="Arial" panose="020B0604020202020204" pitchFamily="34" charset="0"/>
              </a:rPr>
              <a:t>“MODELO OPERACIONAL”</a:t>
            </a:r>
            <a:endParaRPr lang="en-GB" sz="4000" b="1" dirty="0">
              <a:solidFill>
                <a:schemeClr val="bg1"/>
              </a:solidFill>
              <a:latin typeface="Arial" panose="020B0604020202020204" pitchFamily="34" charset="0"/>
              <a:cs typeface="Arial" panose="020B0604020202020204" pitchFamily="34" charset="0"/>
            </a:endParaRPr>
          </a:p>
        </p:txBody>
      </p:sp>
      <p:graphicFrame>
        <p:nvGraphicFramePr>
          <p:cNvPr id="2" name="Table 2">
            <a:extLst>
              <a:ext uri="{FF2B5EF4-FFF2-40B4-BE49-F238E27FC236}">
                <a16:creationId xmlns:a16="http://schemas.microsoft.com/office/drawing/2014/main" id="{90C4ECCF-9B28-475A-8668-643F413BD5F2}"/>
              </a:ext>
            </a:extLst>
          </p:cNvPr>
          <p:cNvGraphicFramePr>
            <a:graphicFrameLocks noGrp="1"/>
          </p:cNvGraphicFramePr>
          <p:nvPr>
            <p:extLst>
              <p:ext uri="{D42A27DB-BD31-4B8C-83A1-F6EECF244321}">
                <p14:modId xmlns:p14="http://schemas.microsoft.com/office/powerpoint/2010/main" val="494639291"/>
              </p:ext>
            </p:extLst>
          </p:nvPr>
        </p:nvGraphicFramePr>
        <p:xfrm>
          <a:off x="1198033" y="3725450"/>
          <a:ext cx="9795934" cy="3019212"/>
        </p:xfrm>
        <a:graphic>
          <a:graphicData uri="http://schemas.openxmlformats.org/drawingml/2006/table">
            <a:tbl>
              <a:tblPr firstRow="1" bandRow="1">
                <a:tableStyleId>{00A15C55-8517-42AA-B614-E9B94910E393}</a:tableStyleId>
              </a:tblPr>
              <a:tblGrid>
                <a:gridCol w="4897967">
                  <a:extLst>
                    <a:ext uri="{9D8B030D-6E8A-4147-A177-3AD203B41FA5}">
                      <a16:colId xmlns:a16="http://schemas.microsoft.com/office/drawing/2014/main" val="2726736430"/>
                    </a:ext>
                  </a:extLst>
                </a:gridCol>
                <a:gridCol w="4897967">
                  <a:extLst>
                    <a:ext uri="{9D8B030D-6E8A-4147-A177-3AD203B41FA5}">
                      <a16:colId xmlns:a16="http://schemas.microsoft.com/office/drawing/2014/main" val="728345699"/>
                    </a:ext>
                  </a:extLst>
                </a:gridCol>
              </a:tblGrid>
              <a:tr h="431316">
                <a:tc>
                  <a:txBody>
                    <a:bodyPr/>
                    <a:lstStyle/>
                    <a:p>
                      <a:r>
                        <a:rPr lang="es-CO" dirty="0"/>
                        <a:t>Nome completo</a:t>
                      </a:r>
                    </a:p>
                  </a:txBody>
                  <a:tcPr/>
                </a:tc>
                <a:tc>
                  <a:txBody>
                    <a:bodyPr/>
                    <a:lstStyle/>
                    <a:p>
                      <a:r>
                        <a:rPr lang="es-CO" dirty="0"/>
                        <a:t>E-mail</a:t>
                      </a:r>
                    </a:p>
                  </a:txBody>
                  <a:tcPr/>
                </a:tc>
                <a:extLst>
                  <a:ext uri="{0D108BD9-81ED-4DB2-BD59-A6C34878D82A}">
                    <a16:rowId xmlns:a16="http://schemas.microsoft.com/office/drawing/2014/main" val="1227350454"/>
                  </a:ext>
                </a:extLst>
              </a:tr>
              <a:tr h="431316">
                <a:tc>
                  <a:txBody>
                    <a:bodyPr/>
                    <a:lstStyle/>
                    <a:p>
                      <a:endParaRPr lang="es-CO" dirty="0">
                        <a:solidFill>
                          <a:schemeClr val="tx1"/>
                        </a:solidFill>
                      </a:endParaRPr>
                    </a:p>
                  </a:txBody>
                  <a:tcPr/>
                </a:tc>
                <a:tc>
                  <a:txBody>
                    <a:bodyPr/>
                    <a:lstStyle/>
                    <a:p>
                      <a:endParaRPr lang="es-CO" dirty="0">
                        <a:solidFill>
                          <a:schemeClr val="tx1"/>
                        </a:solidFill>
                      </a:endParaRPr>
                    </a:p>
                  </a:txBody>
                  <a:tcPr/>
                </a:tc>
                <a:extLst>
                  <a:ext uri="{0D108BD9-81ED-4DB2-BD59-A6C34878D82A}">
                    <a16:rowId xmlns:a16="http://schemas.microsoft.com/office/drawing/2014/main" val="1735040114"/>
                  </a:ext>
                </a:extLst>
              </a:tr>
              <a:tr h="431316">
                <a:tc>
                  <a:txBody>
                    <a:bodyPr/>
                    <a:lstStyle/>
                    <a:p>
                      <a:endParaRPr lang="es-CO" dirty="0">
                        <a:solidFill>
                          <a:schemeClr val="tx1"/>
                        </a:solidFill>
                      </a:endParaRPr>
                    </a:p>
                  </a:txBody>
                  <a:tcPr/>
                </a:tc>
                <a:tc>
                  <a:txBody>
                    <a:bodyPr/>
                    <a:lstStyle/>
                    <a:p>
                      <a:endParaRPr lang="es-CO">
                        <a:solidFill>
                          <a:schemeClr val="tx1"/>
                        </a:solidFill>
                      </a:endParaRPr>
                    </a:p>
                  </a:txBody>
                  <a:tcPr/>
                </a:tc>
                <a:extLst>
                  <a:ext uri="{0D108BD9-81ED-4DB2-BD59-A6C34878D82A}">
                    <a16:rowId xmlns:a16="http://schemas.microsoft.com/office/drawing/2014/main" val="2250299672"/>
                  </a:ext>
                </a:extLst>
              </a:tr>
              <a:tr h="431316">
                <a:tc>
                  <a:txBody>
                    <a:bodyPr/>
                    <a:lstStyle/>
                    <a:p>
                      <a:endParaRPr lang="es-CO" dirty="0">
                        <a:solidFill>
                          <a:schemeClr val="tx1"/>
                        </a:solidFill>
                      </a:endParaRPr>
                    </a:p>
                  </a:txBody>
                  <a:tcPr/>
                </a:tc>
                <a:tc>
                  <a:txBody>
                    <a:bodyPr/>
                    <a:lstStyle/>
                    <a:p>
                      <a:endParaRPr lang="es-CO" dirty="0">
                        <a:solidFill>
                          <a:schemeClr val="tx1"/>
                        </a:solidFill>
                      </a:endParaRPr>
                    </a:p>
                  </a:txBody>
                  <a:tcPr/>
                </a:tc>
                <a:extLst>
                  <a:ext uri="{0D108BD9-81ED-4DB2-BD59-A6C34878D82A}">
                    <a16:rowId xmlns:a16="http://schemas.microsoft.com/office/drawing/2014/main" val="3285541758"/>
                  </a:ext>
                </a:extLst>
              </a:tr>
              <a:tr h="431316">
                <a:tc>
                  <a:txBody>
                    <a:bodyPr/>
                    <a:lstStyle/>
                    <a:p>
                      <a:endParaRPr lang="es-CO">
                        <a:solidFill>
                          <a:schemeClr val="tx1"/>
                        </a:solidFill>
                      </a:endParaRPr>
                    </a:p>
                  </a:txBody>
                  <a:tcPr/>
                </a:tc>
                <a:tc>
                  <a:txBody>
                    <a:bodyPr/>
                    <a:lstStyle/>
                    <a:p>
                      <a:endParaRPr lang="es-CO" dirty="0">
                        <a:solidFill>
                          <a:schemeClr val="tx1"/>
                        </a:solidFill>
                      </a:endParaRPr>
                    </a:p>
                  </a:txBody>
                  <a:tcPr/>
                </a:tc>
                <a:extLst>
                  <a:ext uri="{0D108BD9-81ED-4DB2-BD59-A6C34878D82A}">
                    <a16:rowId xmlns:a16="http://schemas.microsoft.com/office/drawing/2014/main" val="4040995841"/>
                  </a:ext>
                </a:extLst>
              </a:tr>
              <a:tr h="431316">
                <a:tc>
                  <a:txBody>
                    <a:bodyPr/>
                    <a:lstStyle/>
                    <a:p>
                      <a:endParaRPr lang="es-CO">
                        <a:solidFill>
                          <a:schemeClr val="tx1"/>
                        </a:solidFill>
                      </a:endParaRPr>
                    </a:p>
                  </a:txBody>
                  <a:tcPr/>
                </a:tc>
                <a:tc>
                  <a:txBody>
                    <a:bodyPr/>
                    <a:lstStyle/>
                    <a:p>
                      <a:endParaRPr lang="es-CO" dirty="0">
                        <a:solidFill>
                          <a:schemeClr val="tx1"/>
                        </a:solidFill>
                      </a:endParaRPr>
                    </a:p>
                  </a:txBody>
                  <a:tcPr/>
                </a:tc>
                <a:extLst>
                  <a:ext uri="{0D108BD9-81ED-4DB2-BD59-A6C34878D82A}">
                    <a16:rowId xmlns:a16="http://schemas.microsoft.com/office/drawing/2014/main" val="2981588468"/>
                  </a:ext>
                </a:extLst>
              </a:tr>
              <a:tr h="431316">
                <a:tc>
                  <a:txBody>
                    <a:bodyPr/>
                    <a:lstStyle/>
                    <a:p>
                      <a:endParaRPr lang="es-CO" dirty="0">
                        <a:solidFill>
                          <a:schemeClr val="tx1"/>
                        </a:solidFill>
                      </a:endParaRPr>
                    </a:p>
                  </a:txBody>
                  <a:tcPr/>
                </a:tc>
                <a:tc>
                  <a:txBody>
                    <a:bodyPr/>
                    <a:lstStyle/>
                    <a:p>
                      <a:endParaRPr lang="es-CO" dirty="0">
                        <a:solidFill>
                          <a:schemeClr val="tx1"/>
                        </a:solidFill>
                      </a:endParaRPr>
                    </a:p>
                  </a:txBody>
                  <a:tcPr/>
                </a:tc>
                <a:extLst>
                  <a:ext uri="{0D108BD9-81ED-4DB2-BD59-A6C34878D82A}">
                    <a16:rowId xmlns:a16="http://schemas.microsoft.com/office/drawing/2014/main" val="4284141257"/>
                  </a:ext>
                </a:extLst>
              </a:tr>
            </a:tbl>
          </a:graphicData>
        </a:graphic>
      </p:graphicFrame>
      <p:sp>
        <p:nvSpPr>
          <p:cNvPr id="9" name="TextBox 8">
            <a:extLst>
              <a:ext uri="{FF2B5EF4-FFF2-40B4-BE49-F238E27FC236}">
                <a16:creationId xmlns:a16="http://schemas.microsoft.com/office/drawing/2014/main" id="{C46E46B2-8DA6-4180-BE6E-D6D94C9C18D5}"/>
              </a:ext>
            </a:extLst>
          </p:cNvPr>
          <p:cNvSpPr txBox="1"/>
          <p:nvPr/>
        </p:nvSpPr>
        <p:spPr>
          <a:xfrm>
            <a:off x="639233" y="2111467"/>
            <a:ext cx="10752264" cy="1287532"/>
          </a:xfrm>
          <a:prstGeom prst="rect">
            <a:avLst/>
          </a:prstGeom>
          <a:noFill/>
        </p:spPr>
        <p:txBody>
          <a:bodyPr wrap="square" rtlCol="0">
            <a:spAutoFit/>
          </a:bodyPr>
          <a:lstStyle/>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pt-BR" dirty="0">
                <a:solidFill>
                  <a:schemeClr val="bg1"/>
                </a:solidFill>
                <a:latin typeface="Arial" panose="020B0604020202020204" pitchFamily="34" charset="0"/>
                <a:cs typeface="Arial" panose="020B0604020202020204" pitchFamily="34" charset="0"/>
              </a:rPr>
              <a:t>Na tabela abaixo, por favor insira os </a:t>
            </a:r>
            <a:r>
              <a:rPr lang="pt-BR" b="1" dirty="0">
                <a:solidFill>
                  <a:schemeClr val="bg1"/>
                </a:solidFill>
                <a:highlight>
                  <a:srgbClr val="EA3A55"/>
                </a:highlight>
                <a:latin typeface="Arial" panose="020B0604020202020204" pitchFamily="34" charset="0"/>
                <a:cs typeface="Arial" panose="020B0604020202020204" pitchFamily="34" charset="0"/>
              </a:rPr>
              <a:t>nomes</a:t>
            </a:r>
            <a:r>
              <a:rPr lang="pt-BR" dirty="0">
                <a:solidFill>
                  <a:schemeClr val="bg1"/>
                </a:solidFill>
                <a:latin typeface="Arial" panose="020B0604020202020204" pitchFamily="34" charset="0"/>
                <a:cs typeface="Arial" panose="020B0604020202020204" pitchFamily="34" charset="0"/>
              </a:rPr>
              <a:t> e </a:t>
            </a:r>
            <a:r>
              <a:rPr lang="pt-BR" b="1" dirty="0">
                <a:solidFill>
                  <a:schemeClr val="bg1"/>
                </a:solidFill>
                <a:highlight>
                  <a:srgbClr val="EA3A55"/>
                </a:highlight>
                <a:latin typeface="Arial" panose="020B0604020202020204" pitchFamily="34" charset="0"/>
                <a:cs typeface="Arial" panose="020B0604020202020204" pitchFamily="34" charset="0"/>
              </a:rPr>
              <a:t>endereços de e-mail </a:t>
            </a:r>
            <a:r>
              <a:rPr lang="pt-BR" dirty="0">
                <a:solidFill>
                  <a:schemeClr val="bg1"/>
                </a:solidFill>
                <a:latin typeface="Arial" panose="020B0604020202020204" pitchFamily="34" charset="0"/>
                <a:cs typeface="Arial" panose="020B0604020202020204" pitchFamily="34" charset="0"/>
              </a:rPr>
              <a:t>dos membros do grupo.</a:t>
            </a:r>
          </a:p>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pt-BR" dirty="0">
                <a:solidFill>
                  <a:schemeClr val="bg1"/>
                </a:solidFill>
                <a:latin typeface="Arial" panose="020B0604020202020204" pitchFamily="34" charset="0"/>
                <a:cs typeface="Arial" panose="020B0604020202020204" pitchFamily="34" charset="0"/>
              </a:rPr>
              <a:t>Esta informação será usada para conceder a pontuação do desafio na Academia </a:t>
            </a:r>
            <a:r>
              <a:rPr lang="pt-BR" dirty="0" err="1">
                <a:solidFill>
                  <a:schemeClr val="bg1"/>
                </a:solidFill>
                <a:latin typeface="Arial" panose="020B0604020202020204" pitchFamily="34" charset="0"/>
                <a:cs typeface="Arial" panose="020B0604020202020204" pitchFamily="34" charset="0"/>
              </a:rPr>
              <a:t>ConnectAmericas</a:t>
            </a:r>
            <a:r>
              <a:rPr lang="pt-BR" dirty="0">
                <a:solidFill>
                  <a:schemeClr val="bg1"/>
                </a:solidFill>
                <a:latin typeface="Arial" panose="020B0604020202020204" pitchFamily="34" charset="0"/>
                <a:cs typeface="Arial" panose="020B0604020202020204" pitchFamily="34" charset="0"/>
              </a:rPr>
              <a:t>, por isso é muito importante que você insira </a:t>
            </a:r>
            <a:r>
              <a:rPr lang="pt-BR" b="1" u="sng" dirty="0">
                <a:solidFill>
                  <a:schemeClr val="bg1"/>
                </a:solidFill>
                <a:latin typeface="Arial" panose="020B0604020202020204" pitchFamily="34" charset="0"/>
                <a:cs typeface="Arial" panose="020B0604020202020204" pitchFamily="34" charset="0"/>
              </a:rPr>
              <a:t>os dados exatamente como estão na Academia. </a:t>
            </a:r>
            <a:endParaRPr lang="en-GB" u="sng"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051433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3E24BFF-A0DB-4ECE-96D3-5EAB937B7323}"/>
              </a:ext>
            </a:extLst>
          </p:cNvPr>
          <p:cNvSpPr txBox="1"/>
          <p:nvPr/>
        </p:nvSpPr>
        <p:spPr>
          <a:xfrm>
            <a:off x="553451" y="362193"/>
            <a:ext cx="10838046" cy="901593"/>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s-CO" sz="4000" b="1" dirty="0">
                <a:solidFill>
                  <a:prstClr val="white"/>
                </a:solidFill>
                <a:latin typeface="Arial" panose="020B0604020202020204" pitchFamily="34" charset="0"/>
                <a:cs typeface="Arial" panose="020B0604020202020204" pitchFamily="34" charset="0"/>
              </a:rPr>
              <a:t>INSTRUÇÕES</a:t>
            </a:r>
          </a:p>
        </p:txBody>
      </p:sp>
      <p:sp>
        <p:nvSpPr>
          <p:cNvPr id="9" name="TextBox 8">
            <a:extLst>
              <a:ext uri="{FF2B5EF4-FFF2-40B4-BE49-F238E27FC236}">
                <a16:creationId xmlns:a16="http://schemas.microsoft.com/office/drawing/2014/main" id="{C46E46B2-8DA6-4180-BE6E-D6D94C9C18D5}"/>
              </a:ext>
            </a:extLst>
          </p:cNvPr>
          <p:cNvSpPr txBox="1"/>
          <p:nvPr/>
        </p:nvSpPr>
        <p:spPr>
          <a:xfrm>
            <a:off x="639233" y="1437460"/>
            <a:ext cx="10752264" cy="1287532"/>
          </a:xfrm>
          <a:prstGeom prst="rect">
            <a:avLst/>
          </a:prstGeom>
          <a:noFill/>
        </p:spPr>
        <p:txBody>
          <a:bodyPr wrap="square" rtlCol="0">
            <a:spAutoFit/>
          </a:bodyPr>
          <a:lstStyle/>
          <a:p>
            <a:pPr marL="285750" marR="0" lvl="0" indent="-285750" defTabSz="914400" rtl="0" eaLnBrk="1" fontAlgn="auto" latinLnBrk="0" hangingPunct="1">
              <a:spcBef>
                <a:spcPts val="0"/>
              </a:spcBef>
              <a:spcAft>
                <a:spcPts val="0"/>
              </a:spcAft>
              <a:buClrTx/>
              <a:buSzTx/>
              <a:buFont typeface="Arial" panose="020B0604020202020204" pitchFamily="34" charset="0"/>
              <a:buChar char="•"/>
              <a:tabLst/>
              <a:defRPr/>
            </a:pPr>
            <a:r>
              <a:rPr lang="pt-BR" dirty="0">
                <a:solidFill>
                  <a:schemeClr val="bg1"/>
                </a:solidFill>
                <a:latin typeface="Arial" panose="020B0604020202020204" pitchFamily="34" charset="0"/>
                <a:cs typeface="Arial" panose="020B0604020202020204" pitchFamily="34" charset="0"/>
              </a:rPr>
              <a:t>Para este primeiro desafio de grupo, será necessário desenvolver as 5 dimensões do </a:t>
            </a:r>
            <a:r>
              <a:rPr lang="pt-BR" b="1" dirty="0">
                <a:solidFill>
                  <a:schemeClr val="bg1"/>
                </a:solidFill>
                <a:highlight>
                  <a:srgbClr val="EA3A55"/>
                </a:highlight>
                <a:latin typeface="Arial" panose="020B0604020202020204" pitchFamily="34" charset="0"/>
                <a:cs typeface="Arial" panose="020B0604020202020204" pitchFamily="34" charset="0"/>
              </a:rPr>
              <a:t>modelo operacional</a:t>
            </a:r>
            <a:r>
              <a:rPr lang="pt-BR" dirty="0">
                <a:solidFill>
                  <a:schemeClr val="bg1"/>
                </a:solidFill>
                <a:latin typeface="Arial" panose="020B0604020202020204" pitchFamily="34" charset="0"/>
                <a:cs typeface="Arial" panose="020B0604020202020204" pitchFamily="34" charset="0"/>
              </a:rPr>
              <a:t> para um (1) processo operacional a partir do negócio de </a:t>
            </a:r>
            <a:r>
              <a:rPr lang="pt-BR" b="1" u="sng" dirty="0">
                <a:solidFill>
                  <a:schemeClr val="bg1"/>
                </a:solidFill>
                <a:latin typeface="Arial" panose="020B0604020202020204" pitchFamily="34" charset="0"/>
                <a:cs typeface="Arial" panose="020B0604020202020204" pitchFamily="34" charset="0"/>
              </a:rPr>
              <a:t>uma (1) das participantes do grupo. </a:t>
            </a:r>
          </a:p>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pt-BR" dirty="0">
                <a:solidFill>
                  <a:schemeClr val="bg1"/>
                </a:solidFill>
                <a:latin typeface="Arial" panose="020B0604020202020204" pitchFamily="34" charset="0"/>
                <a:cs typeface="Arial" panose="020B0604020202020204" pitchFamily="34" charset="0"/>
              </a:rPr>
              <a:t>É recomendável aplicar a seguinte dinâmica de consultoria: </a:t>
            </a:r>
            <a:endParaRPr lang="en-GB" dirty="0">
              <a:solidFill>
                <a:schemeClr val="bg1"/>
              </a:solidFill>
              <a:latin typeface="Arial" panose="020B0604020202020204" pitchFamily="34" charset="0"/>
              <a:cs typeface="Arial" panose="020B0604020202020204" pitchFamily="34" charset="0"/>
            </a:endParaRPr>
          </a:p>
        </p:txBody>
      </p:sp>
      <p:sp>
        <p:nvSpPr>
          <p:cNvPr id="5" name="Rectangle: Rounded Corners 4">
            <a:extLst>
              <a:ext uri="{FF2B5EF4-FFF2-40B4-BE49-F238E27FC236}">
                <a16:creationId xmlns:a16="http://schemas.microsoft.com/office/drawing/2014/main" id="{A807FA6B-29BF-428C-875A-43AB91CF3674}"/>
              </a:ext>
            </a:extLst>
          </p:cNvPr>
          <p:cNvSpPr/>
          <p:nvPr/>
        </p:nvSpPr>
        <p:spPr>
          <a:xfrm>
            <a:off x="986194" y="2875692"/>
            <a:ext cx="10122073" cy="1746676"/>
          </a:xfrm>
          <a:prstGeom prst="round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chemeClr val="bg1"/>
              </a:solidFill>
            </a:endParaRPr>
          </a:p>
        </p:txBody>
      </p:sp>
      <p:graphicFrame>
        <p:nvGraphicFramePr>
          <p:cNvPr id="7" name="Table 6">
            <a:extLst>
              <a:ext uri="{FF2B5EF4-FFF2-40B4-BE49-F238E27FC236}">
                <a16:creationId xmlns:a16="http://schemas.microsoft.com/office/drawing/2014/main" id="{C9AC83A0-A20D-4A6B-8729-5097ABD46F34}"/>
              </a:ext>
            </a:extLst>
          </p:cNvPr>
          <p:cNvGraphicFramePr>
            <a:graphicFrameLocks noGrp="1"/>
          </p:cNvGraphicFramePr>
          <p:nvPr/>
        </p:nvGraphicFramePr>
        <p:xfrm>
          <a:off x="1479378" y="2971790"/>
          <a:ext cx="9482666" cy="1554480"/>
        </p:xfrm>
        <a:graphic>
          <a:graphicData uri="http://schemas.openxmlformats.org/drawingml/2006/table">
            <a:tbl>
              <a:tblPr firstRow="1" bandRow="1">
                <a:tableStyleId>{5C22544A-7EE6-4342-B048-85BDC9FD1C3A}</a:tableStyleId>
              </a:tblPr>
              <a:tblGrid>
                <a:gridCol w="9482666">
                  <a:extLst>
                    <a:ext uri="{9D8B030D-6E8A-4147-A177-3AD203B41FA5}">
                      <a16:colId xmlns:a16="http://schemas.microsoft.com/office/drawing/2014/main" val="3451321742"/>
                    </a:ext>
                  </a:extLst>
                </a:gridCol>
              </a:tblGrid>
              <a:tr h="370840">
                <a:tc>
                  <a:txBody>
                    <a:bodyPr/>
                    <a:lstStyle/>
                    <a:p>
                      <a:r>
                        <a:rPr lang="pt-BR" sz="1600" noProof="0" dirty="0">
                          <a:solidFill>
                            <a:schemeClr val="bg1"/>
                          </a:solidFill>
                          <a:latin typeface="Arial" panose="020B0604020202020204" pitchFamily="34" charset="0"/>
                          <a:cs typeface="Arial" panose="020B0604020202020204" pitchFamily="34" charset="0"/>
                        </a:rPr>
                        <a:t>Dinâmica de consultoria:  </a:t>
                      </a:r>
                    </a:p>
                    <a:p>
                      <a:pPr marL="171450" indent="-171450">
                        <a:buFont typeface="Wingdings" panose="05000000000000000000" pitchFamily="2" charset="2"/>
                        <a:buChar char="§"/>
                      </a:pPr>
                      <a:r>
                        <a:rPr lang="pt-BR" sz="1600" b="0" noProof="0" dirty="0">
                          <a:solidFill>
                            <a:schemeClr val="bg1"/>
                          </a:solidFill>
                          <a:latin typeface="Arial" panose="020B0604020202020204" pitchFamily="34" charset="0"/>
                          <a:cs typeface="Arial" panose="020B0604020202020204" pitchFamily="34" charset="0"/>
                        </a:rPr>
                        <a:t>A participante que representa a empresa selecionada terá o papel de "cliente".</a:t>
                      </a:r>
                    </a:p>
                    <a:p>
                      <a:pPr marL="171450" indent="-171450">
                        <a:buFont typeface="Wingdings" panose="05000000000000000000" pitchFamily="2" charset="2"/>
                        <a:buChar char="§"/>
                      </a:pPr>
                      <a:r>
                        <a:rPr lang="pt-BR" sz="1600" b="0" noProof="0" dirty="0">
                          <a:solidFill>
                            <a:schemeClr val="bg1"/>
                          </a:solidFill>
                          <a:latin typeface="Arial" panose="020B0604020202020204" pitchFamily="34" charset="0"/>
                          <a:cs typeface="Arial" panose="020B0604020202020204" pitchFamily="34" charset="0"/>
                        </a:rPr>
                        <a:t>As demais mulheres atuarão como "consultoras".</a:t>
                      </a:r>
                    </a:p>
                    <a:p>
                      <a:pPr marL="171450" indent="-171450">
                        <a:buFont typeface="Wingdings" panose="05000000000000000000" pitchFamily="2" charset="2"/>
                        <a:buChar char="§"/>
                      </a:pPr>
                      <a:r>
                        <a:rPr lang="pt-BR" sz="1600" b="0" noProof="0" dirty="0">
                          <a:solidFill>
                            <a:schemeClr val="bg1"/>
                          </a:solidFill>
                          <a:latin typeface="Arial" panose="020B0604020202020204" pitchFamily="34" charset="0"/>
                          <a:cs typeface="Arial" panose="020B0604020202020204" pitchFamily="34" charset="0"/>
                        </a:rPr>
                        <a:t>A atividade consiste no "cliente" apresentando o estado de seu negócio com base nas exigências da ferramenta, enquanto as consultoras fazem perguntas-chave que enriqueçam o negócio do cliente e ampliem o conhecimento do grupo.</a:t>
                      </a:r>
                    </a:p>
                  </a:txBody>
                  <a:tcPr>
                    <a:lnL w="28575"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83950455"/>
                  </a:ext>
                </a:extLst>
              </a:tr>
            </a:tbl>
          </a:graphicData>
        </a:graphic>
      </p:graphicFrame>
      <p:pic>
        <p:nvPicPr>
          <p:cNvPr id="8" name="Gráfico 2">
            <a:extLst>
              <a:ext uri="{FF2B5EF4-FFF2-40B4-BE49-F238E27FC236}">
                <a16:creationId xmlns:a16="http://schemas.microsoft.com/office/drawing/2014/main" id="{75EB8263-EF49-4F0B-A650-51E58D99C9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9233" y="2888925"/>
            <a:ext cx="693923" cy="677659"/>
          </a:xfrm>
          <a:prstGeom prst="rect">
            <a:avLst/>
          </a:prstGeom>
        </p:spPr>
      </p:pic>
      <p:sp>
        <p:nvSpPr>
          <p:cNvPr id="10" name="TextBox 9">
            <a:extLst>
              <a:ext uri="{FF2B5EF4-FFF2-40B4-BE49-F238E27FC236}">
                <a16:creationId xmlns:a16="http://schemas.microsoft.com/office/drawing/2014/main" id="{BD334509-8071-4DDA-8AA5-4A11F7D38E21}"/>
              </a:ext>
            </a:extLst>
          </p:cNvPr>
          <p:cNvSpPr txBox="1"/>
          <p:nvPr/>
        </p:nvSpPr>
        <p:spPr>
          <a:xfrm>
            <a:off x="639233" y="4843776"/>
            <a:ext cx="10752264" cy="1703030"/>
          </a:xfrm>
          <a:prstGeom prst="rect">
            <a:avLst/>
          </a:prstGeom>
          <a:noFill/>
        </p:spPr>
        <p:txBody>
          <a:bodyPr wrap="square" rtlCol="0">
            <a:spAutoFit/>
          </a:bodyPr>
          <a:lstStyle/>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pt-BR" dirty="0">
                <a:solidFill>
                  <a:schemeClr val="bg1"/>
                </a:solidFill>
                <a:latin typeface="Arial" panose="020B0604020202020204" pitchFamily="34" charset="0"/>
                <a:cs typeface="Arial" panose="020B0604020202020204" pitchFamily="34" charset="0"/>
              </a:rPr>
              <a:t>A pessoa assessorada “cliente” pode envolver mais pessoas de sua empresa na construção das 5 dimensões do modelo operacional.</a:t>
            </a:r>
          </a:p>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pt-BR" dirty="0">
                <a:solidFill>
                  <a:schemeClr val="bg1"/>
                </a:solidFill>
                <a:latin typeface="Arial" panose="020B0604020202020204" pitchFamily="34" charset="0"/>
                <a:cs typeface="Arial" panose="020B0604020202020204" pitchFamily="34" charset="0"/>
              </a:rPr>
              <a:t>O formato de entrega é livre. Vocês podem desenvolver o desafio em uma ferramenta digital ou mesmo manualmente usando </a:t>
            </a:r>
            <a:r>
              <a:rPr lang="pt-BR" i="1" dirty="0" err="1">
                <a:solidFill>
                  <a:schemeClr val="bg1"/>
                </a:solidFill>
                <a:latin typeface="Arial" panose="020B0604020202020204" pitchFamily="34" charset="0"/>
                <a:cs typeface="Arial" panose="020B0604020202020204" pitchFamily="34" charset="0"/>
              </a:rPr>
              <a:t>post-its</a:t>
            </a:r>
            <a:r>
              <a:rPr lang="pt-BR" dirty="0">
                <a:solidFill>
                  <a:schemeClr val="bg1"/>
                </a:solidFill>
                <a:latin typeface="Arial" panose="020B0604020202020204" pitchFamily="34" charset="0"/>
                <a:cs typeface="Arial" panose="020B0604020202020204" pitchFamily="34" charset="0"/>
              </a:rPr>
              <a:t>. Este é um exercício criativo, não se limitem!</a:t>
            </a:r>
          </a:p>
        </p:txBody>
      </p:sp>
    </p:spTree>
    <p:extLst>
      <p:ext uri="{BB962C8B-B14F-4D97-AF65-F5344CB8AC3E}">
        <p14:creationId xmlns:p14="http://schemas.microsoft.com/office/powerpoint/2010/main" val="1356553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E24824E-F86D-4BF1-A73F-457CD5F4A18D}"/>
              </a:ext>
            </a:extLst>
          </p:cNvPr>
          <p:cNvSpPr txBox="1"/>
          <p:nvPr/>
        </p:nvSpPr>
        <p:spPr>
          <a:xfrm>
            <a:off x="639233" y="1415484"/>
            <a:ext cx="11358034" cy="3416320"/>
          </a:xfrm>
          <a:prstGeom prst="rect">
            <a:avLst/>
          </a:prstGeom>
          <a:noFill/>
        </p:spPr>
        <p:txBody>
          <a:bodyPr wrap="square" rtlCol="0">
            <a:spAutoFit/>
          </a:bodyPr>
          <a:lstStyle/>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pt-BR" dirty="0">
                <a:solidFill>
                  <a:schemeClr val="bg1"/>
                </a:solidFill>
                <a:latin typeface="Arial" panose="020B0604020202020204" pitchFamily="34" charset="0"/>
                <a:cs typeface="Arial" panose="020B0604020202020204" pitchFamily="34" charset="0"/>
              </a:rPr>
              <a:t>Para este desafio é preciso apresentar um </a:t>
            </a:r>
            <a:r>
              <a:rPr lang="pt-BR" b="1" dirty="0">
                <a:solidFill>
                  <a:schemeClr val="bg1"/>
                </a:solidFill>
                <a:highlight>
                  <a:srgbClr val="EA3A55"/>
                </a:highlight>
                <a:latin typeface="Arial" panose="020B0604020202020204" pitchFamily="34" charset="0"/>
                <a:cs typeface="Arial" panose="020B0604020202020204" pitchFamily="34" charset="0"/>
              </a:rPr>
              <a:t>modelo operacional</a:t>
            </a:r>
            <a:r>
              <a:rPr lang="pt-BR" dirty="0">
                <a:solidFill>
                  <a:schemeClr val="bg1"/>
                </a:solidFill>
                <a:latin typeface="Arial" panose="020B0604020202020204" pitchFamily="34" charset="0"/>
                <a:cs typeface="Arial" panose="020B0604020202020204" pitchFamily="34" charset="0"/>
              </a:rPr>
              <a:t> e a caracterização das </a:t>
            </a:r>
            <a:r>
              <a:rPr lang="pt-BR" b="1" dirty="0">
                <a:solidFill>
                  <a:schemeClr val="bg1"/>
                </a:solidFill>
                <a:highlight>
                  <a:srgbClr val="EA3A55"/>
                </a:highlight>
                <a:latin typeface="Arial" panose="020B0604020202020204" pitchFamily="34" charset="0"/>
                <a:cs typeface="Arial" panose="020B0604020202020204" pitchFamily="34" charset="0"/>
              </a:rPr>
              <a:t>5 dimensões</a:t>
            </a:r>
            <a:r>
              <a:rPr lang="pt-BR" dirty="0">
                <a:solidFill>
                  <a:schemeClr val="bg1"/>
                </a:solidFill>
                <a:latin typeface="Arial" panose="020B0604020202020204" pitchFamily="34" charset="0"/>
                <a:cs typeface="Arial" panose="020B0604020202020204" pitchFamily="34" charset="0"/>
              </a:rPr>
              <a:t>. O modelo de modelo operacional pode ser encontrado nas páginas seguintes. </a:t>
            </a:r>
          </a:p>
          <a:p>
            <a:pPr marR="0" lvl="0" defTabSz="914400" rtl="0" eaLnBrk="1" fontAlgn="auto" latinLnBrk="0" hangingPunct="1">
              <a:lnSpc>
                <a:spcPct val="150000"/>
              </a:lnSpc>
              <a:spcBef>
                <a:spcPts val="0"/>
              </a:spcBef>
              <a:spcAft>
                <a:spcPts val="0"/>
              </a:spcAft>
              <a:buClrTx/>
              <a:buSzTx/>
              <a:tabLst/>
              <a:defRPr/>
            </a:pPr>
            <a:endParaRPr lang="pt-BR" b="1" dirty="0">
              <a:solidFill>
                <a:schemeClr val="bg1"/>
              </a:solidFill>
              <a:latin typeface="Arial" panose="020B0604020202020204" pitchFamily="34" charset="0"/>
              <a:cs typeface="Arial" panose="020B0604020202020204" pitchFamily="34" charset="0"/>
            </a:endParaRPr>
          </a:p>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pt-BR" b="1" dirty="0">
                <a:solidFill>
                  <a:schemeClr val="bg1"/>
                </a:solidFill>
                <a:latin typeface="Arial" panose="020B0604020202020204" pitchFamily="34" charset="0"/>
                <a:cs typeface="Arial" panose="020B0604020202020204" pitchFamily="34" charset="0"/>
              </a:rPr>
              <a:t>Algumas ferramentas digitais que podem lhes ajudar a construir a jornada do cliente são:</a:t>
            </a:r>
            <a:endParaRPr lang="en-GB" b="1" dirty="0">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defRPr/>
            </a:pPr>
            <a:r>
              <a:rPr lang="en-GB" dirty="0" err="1">
                <a:solidFill>
                  <a:schemeClr val="bg1"/>
                </a:solidFill>
                <a:latin typeface="Arial" panose="020B0604020202020204" pitchFamily="34" charset="0"/>
                <a:cs typeface="Arial" panose="020B0604020202020204" pitchFamily="34" charset="0"/>
              </a:rPr>
              <a:t>Lucidchart</a:t>
            </a:r>
            <a:endParaRPr lang="en-GB" dirty="0">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defRPr/>
            </a:pPr>
            <a:r>
              <a:rPr lang="en-GB" dirty="0">
                <a:solidFill>
                  <a:schemeClr val="bg1"/>
                </a:solidFill>
                <a:latin typeface="Arial" panose="020B0604020202020204" pitchFamily="34" charset="0"/>
                <a:cs typeface="Arial" panose="020B0604020202020204" pitchFamily="34" charset="0"/>
              </a:rPr>
              <a:t>Mural</a:t>
            </a:r>
          </a:p>
          <a:p>
            <a:pPr marL="742950" lvl="1" indent="-285750">
              <a:buFont typeface="Arial" panose="020B0604020202020204" pitchFamily="34" charset="0"/>
              <a:buChar char="•"/>
              <a:defRPr/>
            </a:pPr>
            <a:r>
              <a:rPr lang="en-GB" dirty="0">
                <a:solidFill>
                  <a:schemeClr val="bg1"/>
                </a:solidFill>
                <a:latin typeface="Arial" panose="020B0604020202020204" pitchFamily="34" charset="0"/>
                <a:cs typeface="Arial" panose="020B0604020202020204" pitchFamily="34" charset="0"/>
              </a:rPr>
              <a:t>Miro</a:t>
            </a:r>
          </a:p>
          <a:p>
            <a:pPr marL="742950" lvl="1" indent="-285750">
              <a:buFont typeface="Arial" panose="020B0604020202020204" pitchFamily="34" charset="0"/>
              <a:buChar char="•"/>
              <a:defRPr/>
            </a:pPr>
            <a:r>
              <a:rPr lang="en-GB" dirty="0">
                <a:solidFill>
                  <a:schemeClr val="bg1"/>
                </a:solidFill>
                <a:latin typeface="Arial" panose="020B0604020202020204" pitchFamily="34" charset="0"/>
                <a:cs typeface="Arial" panose="020B0604020202020204" pitchFamily="34" charset="0"/>
              </a:rPr>
              <a:t>Sketch</a:t>
            </a:r>
          </a:p>
          <a:p>
            <a:pPr marL="742950" lvl="1" indent="-285750">
              <a:buFont typeface="Arial" panose="020B0604020202020204" pitchFamily="34" charset="0"/>
              <a:buChar char="•"/>
              <a:defRPr/>
            </a:pPr>
            <a:r>
              <a:rPr lang="en-GB" dirty="0">
                <a:solidFill>
                  <a:schemeClr val="bg1"/>
                </a:solidFill>
                <a:latin typeface="Arial" panose="020B0604020202020204" pitchFamily="34" charset="0"/>
                <a:cs typeface="Arial" panose="020B0604020202020204" pitchFamily="34" charset="0"/>
              </a:rPr>
              <a:t>Adobe XD</a:t>
            </a:r>
          </a:p>
          <a:p>
            <a:pPr marL="742950" lvl="1" indent="-285750">
              <a:buFont typeface="Arial" panose="020B0604020202020204" pitchFamily="34" charset="0"/>
              <a:buChar char="•"/>
              <a:defRPr/>
            </a:pPr>
            <a:r>
              <a:rPr lang="en-GB" dirty="0">
                <a:solidFill>
                  <a:schemeClr val="bg1"/>
                </a:solidFill>
                <a:latin typeface="Arial" panose="020B0604020202020204" pitchFamily="34" charset="0"/>
                <a:cs typeface="Arial" panose="020B0604020202020204" pitchFamily="34" charset="0"/>
              </a:rPr>
              <a:t>Figma</a:t>
            </a:r>
          </a:p>
        </p:txBody>
      </p:sp>
      <p:grpSp>
        <p:nvGrpSpPr>
          <p:cNvPr id="3" name="Group 2">
            <a:extLst>
              <a:ext uri="{FF2B5EF4-FFF2-40B4-BE49-F238E27FC236}">
                <a16:creationId xmlns:a16="http://schemas.microsoft.com/office/drawing/2014/main" id="{37E4250A-28E7-4EFA-8BE6-A24A504532E5}"/>
              </a:ext>
            </a:extLst>
          </p:cNvPr>
          <p:cNvGrpSpPr/>
          <p:nvPr/>
        </p:nvGrpSpPr>
        <p:grpSpPr>
          <a:xfrm>
            <a:off x="3310467" y="3232029"/>
            <a:ext cx="7916334" cy="1685634"/>
            <a:chOff x="3310467" y="4544363"/>
            <a:chExt cx="7916334" cy="1685634"/>
          </a:xfrm>
        </p:grpSpPr>
        <p:sp>
          <p:nvSpPr>
            <p:cNvPr id="2" name="Rectangle: Rounded Corners 1">
              <a:extLst>
                <a:ext uri="{FF2B5EF4-FFF2-40B4-BE49-F238E27FC236}">
                  <a16:creationId xmlns:a16="http://schemas.microsoft.com/office/drawing/2014/main" id="{68EA5FB2-E061-4F05-8F80-5F71CF64B337}"/>
                </a:ext>
              </a:extLst>
            </p:cNvPr>
            <p:cNvSpPr/>
            <p:nvPr/>
          </p:nvSpPr>
          <p:spPr>
            <a:xfrm>
              <a:off x="3310467" y="4544363"/>
              <a:ext cx="7916334" cy="1685634"/>
            </a:xfrm>
            <a:custGeom>
              <a:avLst/>
              <a:gdLst>
                <a:gd name="connsiteX0" fmla="*/ 0 w 7916334"/>
                <a:gd name="connsiteY0" fmla="*/ 280945 h 1685634"/>
                <a:gd name="connsiteX1" fmla="*/ 280945 w 7916334"/>
                <a:gd name="connsiteY1" fmla="*/ 0 h 1685634"/>
                <a:gd name="connsiteX2" fmla="*/ 875986 w 7916334"/>
                <a:gd name="connsiteY2" fmla="*/ 0 h 1685634"/>
                <a:gd name="connsiteX3" fmla="*/ 1397483 w 7916334"/>
                <a:gd name="connsiteY3" fmla="*/ 0 h 1685634"/>
                <a:gd name="connsiteX4" fmla="*/ 2066069 w 7916334"/>
                <a:gd name="connsiteY4" fmla="*/ 0 h 1685634"/>
                <a:gd name="connsiteX5" fmla="*/ 2881744 w 7916334"/>
                <a:gd name="connsiteY5" fmla="*/ 0 h 1685634"/>
                <a:gd name="connsiteX6" fmla="*/ 3623874 w 7916334"/>
                <a:gd name="connsiteY6" fmla="*/ 0 h 1685634"/>
                <a:gd name="connsiteX7" fmla="*/ 4292460 w 7916334"/>
                <a:gd name="connsiteY7" fmla="*/ 0 h 1685634"/>
                <a:gd name="connsiteX8" fmla="*/ 4887501 w 7916334"/>
                <a:gd name="connsiteY8" fmla="*/ 0 h 1685634"/>
                <a:gd name="connsiteX9" fmla="*/ 5629632 w 7916334"/>
                <a:gd name="connsiteY9" fmla="*/ 0 h 1685634"/>
                <a:gd name="connsiteX10" fmla="*/ 6371762 w 7916334"/>
                <a:gd name="connsiteY10" fmla="*/ 0 h 1685634"/>
                <a:gd name="connsiteX11" fmla="*/ 7635389 w 7916334"/>
                <a:gd name="connsiteY11" fmla="*/ 0 h 1685634"/>
                <a:gd name="connsiteX12" fmla="*/ 7916334 w 7916334"/>
                <a:gd name="connsiteY12" fmla="*/ 280945 h 1685634"/>
                <a:gd name="connsiteX13" fmla="*/ 7916334 w 7916334"/>
                <a:gd name="connsiteY13" fmla="*/ 820342 h 1685634"/>
                <a:gd name="connsiteX14" fmla="*/ 7916334 w 7916334"/>
                <a:gd name="connsiteY14" fmla="*/ 1404689 h 1685634"/>
                <a:gd name="connsiteX15" fmla="*/ 7635389 w 7916334"/>
                <a:gd name="connsiteY15" fmla="*/ 1685634 h 1685634"/>
                <a:gd name="connsiteX16" fmla="*/ 6966803 w 7916334"/>
                <a:gd name="connsiteY16" fmla="*/ 1685634 h 1685634"/>
                <a:gd name="connsiteX17" fmla="*/ 6445306 w 7916334"/>
                <a:gd name="connsiteY17" fmla="*/ 1685634 h 1685634"/>
                <a:gd name="connsiteX18" fmla="*/ 5703176 w 7916334"/>
                <a:gd name="connsiteY18" fmla="*/ 1685634 h 1685634"/>
                <a:gd name="connsiteX19" fmla="*/ 5181679 w 7916334"/>
                <a:gd name="connsiteY19" fmla="*/ 1685634 h 1685634"/>
                <a:gd name="connsiteX20" fmla="*/ 4366004 w 7916334"/>
                <a:gd name="connsiteY20" fmla="*/ 1685634 h 1685634"/>
                <a:gd name="connsiteX21" fmla="*/ 3550330 w 7916334"/>
                <a:gd name="connsiteY21" fmla="*/ 1685634 h 1685634"/>
                <a:gd name="connsiteX22" fmla="*/ 3028833 w 7916334"/>
                <a:gd name="connsiteY22" fmla="*/ 1685634 h 1685634"/>
                <a:gd name="connsiteX23" fmla="*/ 2360247 w 7916334"/>
                <a:gd name="connsiteY23" fmla="*/ 1685634 h 1685634"/>
                <a:gd name="connsiteX24" fmla="*/ 1691661 w 7916334"/>
                <a:gd name="connsiteY24" fmla="*/ 1685634 h 1685634"/>
                <a:gd name="connsiteX25" fmla="*/ 1243709 w 7916334"/>
                <a:gd name="connsiteY25" fmla="*/ 1685634 h 1685634"/>
                <a:gd name="connsiteX26" fmla="*/ 280945 w 7916334"/>
                <a:gd name="connsiteY26" fmla="*/ 1685634 h 1685634"/>
                <a:gd name="connsiteX27" fmla="*/ 0 w 7916334"/>
                <a:gd name="connsiteY27" fmla="*/ 1404689 h 1685634"/>
                <a:gd name="connsiteX28" fmla="*/ 0 w 7916334"/>
                <a:gd name="connsiteY28" fmla="*/ 820342 h 1685634"/>
                <a:gd name="connsiteX29" fmla="*/ 0 w 7916334"/>
                <a:gd name="connsiteY29" fmla="*/ 280945 h 1685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916334" h="1685634" fill="none" extrusionOk="0">
                  <a:moveTo>
                    <a:pt x="0" y="280945"/>
                  </a:moveTo>
                  <a:cubicBezTo>
                    <a:pt x="8686" y="112388"/>
                    <a:pt x="123905" y="12078"/>
                    <a:pt x="280945" y="0"/>
                  </a:cubicBezTo>
                  <a:cubicBezTo>
                    <a:pt x="526443" y="-6273"/>
                    <a:pt x="586624" y="-21946"/>
                    <a:pt x="875986" y="0"/>
                  </a:cubicBezTo>
                  <a:cubicBezTo>
                    <a:pt x="1165348" y="21946"/>
                    <a:pt x="1240520" y="-16083"/>
                    <a:pt x="1397483" y="0"/>
                  </a:cubicBezTo>
                  <a:cubicBezTo>
                    <a:pt x="1554446" y="16083"/>
                    <a:pt x="1817193" y="33048"/>
                    <a:pt x="2066069" y="0"/>
                  </a:cubicBezTo>
                  <a:cubicBezTo>
                    <a:pt x="2314945" y="-33048"/>
                    <a:pt x="2690987" y="-5942"/>
                    <a:pt x="2881744" y="0"/>
                  </a:cubicBezTo>
                  <a:cubicBezTo>
                    <a:pt x="3072501" y="5942"/>
                    <a:pt x="3263180" y="-13338"/>
                    <a:pt x="3623874" y="0"/>
                  </a:cubicBezTo>
                  <a:cubicBezTo>
                    <a:pt x="3984568" y="13338"/>
                    <a:pt x="4039823" y="9396"/>
                    <a:pt x="4292460" y="0"/>
                  </a:cubicBezTo>
                  <a:cubicBezTo>
                    <a:pt x="4545097" y="-9396"/>
                    <a:pt x="4725759" y="-25974"/>
                    <a:pt x="4887501" y="0"/>
                  </a:cubicBezTo>
                  <a:cubicBezTo>
                    <a:pt x="5049243" y="25974"/>
                    <a:pt x="5470497" y="-17084"/>
                    <a:pt x="5629632" y="0"/>
                  </a:cubicBezTo>
                  <a:cubicBezTo>
                    <a:pt x="5788767" y="17084"/>
                    <a:pt x="6018312" y="1864"/>
                    <a:pt x="6371762" y="0"/>
                  </a:cubicBezTo>
                  <a:cubicBezTo>
                    <a:pt x="6725212" y="-1864"/>
                    <a:pt x="7291115" y="45047"/>
                    <a:pt x="7635389" y="0"/>
                  </a:cubicBezTo>
                  <a:cubicBezTo>
                    <a:pt x="7771528" y="19448"/>
                    <a:pt x="7912878" y="94815"/>
                    <a:pt x="7916334" y="280945"/>
                  </a:cubicBezTo>
                  <a:cubicBezTo>
                    <a:pt x="7917585" y="520666"/>
                    <a:pt x="7898843" y="689552"/>
                    <a:pt x="7916334" y="820342"/>
                  </a:cubicBezTo>
                  <a:cubicBezTo>
                    <a:pt x="7933825" y="951132"/>
                    <a:pt x="7927545" y="1207443"/>
                    <a:pt x="7916334" y="1404689"/>
                  </a:cubicBezTo>
                  <a:cubicBezTo>
                    <a:pt x="7917131" y="1532366"/>
                    <a:pt x="7798011" y="1684424"/>
                    <a:pt x="7635389" y="1685634"/>
                  </a:cubicBezTo>
                  <a:cubicBezTo>
                    <a:pt x="7320177" y="1687384"/>
                    <a:pt x="7217246" y="1706661"/>
                    <a:pt x="6966803" y="1685634"/>
                  </a:cubicBezTo>
                  <a:cubicBezTo>
                    <a:pt x="6716360" y="1664607"/>
                    <a:pt x="6558210" y="1704627"/>
                    <a:pt x="6445306" y="1685634"/>
                  </a:cubicBezTo>
                  <a:cubicBezTo>
                    <a:pt x="6332402" y="1666641"/>
                    <a:pt x="5905520" y="1658854"/>
                    <a:pt x="5703176" y="1685634"/>
                  </a:cubicBezTo>
                  <a:cubicBezTo>
                    <a:pt x="5500832" y="1712415"/>
                    <a:pt x="5410441" y="1710631"/>
                    <a:pt x="5181679" y="1685634"/>
                  </a:cubicBezTo>
                  <a:cubicBezTo>
                    <a:pt x="4952917" y="1660637"/>
                    <a:pt x="4545398" y="1679211"/>
                    <a:pt x="4366004" y="1685634"/>
                  </a:cubicBezTo>
                  <a:cubicBezTo>
                    <a:pt x="4186611" y="1692057"/>
                    <a:pt x="3741508" y="1661439"/>
                    <a:pt x="3550330" y="1685634"/>
                  </a:cubicBezTo>
                  <a:cubicBezTo>
                    <a:pt x="3359152" y="1709829"/>
                    <a:pt x="3269414" y="1704460"/>
                    <a:pt x="3028833" y="1685634"/>
                  </a:cubicBezTo>
                  <a:cubicBezTo>
                    <a:pt x="2788252" y="1666808"/>
                    <a:pt x="2538203" y="1694599"/>
                    <a:pt x="2360247" y="1685634"/>
                  </a:cubicBezTo>
                  <a:cubicBezTo>
                    <a:pt x="2182291" y="1676669"/>
                    <a:pt x="1923377" y="1659041"/>
                    <a:pt x="1691661" y="1685634"/>
                  </a:cubicBezTo>
                  <a:cubicBezTo>
                    <a:pt x="1459945" y="1712227"/>
                    <a:pt x="1380054" y="1694010"/>
                    <a:pt x="1243709" y="1685634"/>
                  </a:cubicBezTo>
                  <a:cubicBezTo>
                    <a:pt x="1107364" y="1677258"/>
                    <a:pt x="529708" y="1668238"/>
                    <a:pt x="280945" y="1685634"/>
                  </a:cubicBezTo>
                  <a:cubicBezTo>
                    <a:pt x="133183" y="1711476"/>
                    <a:pt x="-7859" y="1568247"/>
                    <a:pt x="0" y="1404689"/>
                  </a:cubicBezTo>
                  <a:cubicBezTo>
                    <a:pt x="-13873" y="1226108"/>
                    <a:pt x="-553" y="1088649"/>
                    <a:pt x="0" y="820342"/>
                  </a:cubicBezTo>
                  <a:cubicBezTo>
                    <a:pt x="553" y="552035"/>
                    <a:pt x="-107" y="498928"/>
                    <a:pt x="0" y="280945"/>
                  </a:cubicBezTo>
                  <a:close/>
                </a:path>
                <a:path w="7916334" h="1685634" stroke="0" extrusionOk="0">
                  <a:moveTo>
                    <a:pt x="0" y="280945"/>
                  </a:moveTo>
                  <a:cubicBezTo>
                    <a:pt x="-13003" y="139007"/>
                    <a:pt x="102217" y="7689"/>
                    <a:pt x="280945" y="0"/>
                  </a:cubicBezTo>
                  <a:cubicBezTo>
                    <a:pt x="424231" y="13003"/>
                    <a:pt x="606264" y="-18978"/>
                    <a:pt x="802442" y="0"/>
                  </a:cubicBezTo>
                  <a:cubicBezTo>
                    <a:pt x="998620" y="18978"/>
                    <a:pt x="1219701" y="11718"/>
                    <a:pt x="1397483" y="0"/>
                  </a:cubicBezTo>
                  <a:cubicBezTo>
                    <a:pt x="1575265" y="-11718"/>
                    <a:pt x="1715441" y="-17853"/>
                    <a:pt x="1845436" y="0"/>
                  </a:cubicBezTo>
                  <a:cubicBezTo>
                    <a:pt x="1975431" y="17853"/>
                    <a:pt x="2346732" y="-24439"/>
                    <a:pt x="2587566" y="0"/>
                  </a:cubicBezTo>
                  <a:cubicBezTo>
                    <a:pt x="2828400" y="24439"/>
                    <a:pt x="2986513" y="2689"/>
                    <a:pt x="3256152" y="0"/>
                  </a:cubicBezTo>
                  <a:cubicBezTo>
                    <a:pt x="3525791" y="-2689"/>
                    <a:pt x="3660342" y="-27038"/>
                    <a:pt x="3998282" y="0"/>
                  </a:cubicBezTo>
                  <a:cubicBezTo>
                    <a:pt x="4336222" y="27038"/>
                    <a:pt x="4463550" y="-13513"/>
                    <a:pt x="4813957" y="0"/>
                  </a:cubicBezTo>
                  <a:cubicBezTo>
                    <a:pt x="5164364" y="13513"/>
                    <a:pt x="5264492" y="10308"/>
                    <a:pt x="5482543" y="0"/>
                  </a:cubicBezTo>
                  <a:cubicBezTo>
                    <a:pt x="5700594" y="-10308"/>
                    <a:pt x="5876220" y="27483"/>
                    <a:pt x="6224673" y="0"/>
                  </a:cubicBezTo>
                  <a:cubicBezTo>
                    <a:pt x="6573126" y="-27483"/>
                    <a:pt x="6605784" y="702"/>
                    <a:pt x="6966803" y="0"/>
                  </a:cubicBezTo>
                  <a:cubicBezTo>
                    <a:pt x="7327822" y="-702"/>
                    <a:pt x="7420701" y="-20252"/>
                    <a:pt x="7635389" y="0"/>
                  </a:cubicBezTo>
                  <a:cubicBezTo>
                    <a:pt x="7810733" y="-7051"/>
                    <a:pt x="7920233" y="116248"/>
                    <a:pt x="7916334" y="280945"/>
                  </a:cubicBezTo>
                  <a:cubicBezTo>
                    <a:pt x="7899855" y="449367"/>
                    <a:pt x="7910690" y="595485"/>
                    <a:pt x="7916334" y="831580"/>
                  </a:cubicBezTo>
                  <a:cubicBezTo>
                    <a:pt x="7921978" y="1067675"/>
                    <a:pt x="7894503" y="1179226"/>
                    <a:pt x="7916334" y="1404689"/>
                  </a:cubicBezTo>
                  <a:cubicBezTo>
                    <a:pt x="7919227" y="1569254"/>
                    <a:pt x="7786898" y="1671161"/>
                    <a:pt x="7635389" y="1685634"/>
                  </a:cubicBezTo>
                  <a:cubicBezTo>
                    <a:pt x="7303704" y="1716693"/>
                    <a:pt x="7130494" y="1681264"/>
                    <a:pt x="6966803" y="1685634"/>
                  </a:cubicBezTo>
                  <a:cubicBezTo>
                    <a:pt x="6803112" y="1690004"/>
                    <a:pt x="6422209" y="1679518"/>
                    <a:pt x="6224673" y="1685634"/>
                  </a:cubicBezTo>
                  <a:cubicBezTo>
                    <a:pt x="6027137" y="1691751"/>
                    <a:pt x="5926754" y="1695106"/>
                    <a:pt x="5776720" y="1685634"/>
                  </a:cubicBezTo>
                  <a:cubicBezTo>
                    <a:pt x="5626686" y="1676162"/>
                    <a:pt x="5424174" y="1669907"/>
                    <a:pt x="5255223" y="1685634"/>
                  </a:cubicBezTo>
                  <a:cubicBezTo>
                    <a:pt x="5086272" y="1701361"/>
                    <a:pt x="4667209" y="1714754"/>
                    <a:pt x="4439549" y="1685634"/>
                  </a:cubicBezTo>
                  <a:cubicBezTo>
                    <a:pt x="4211889" y="1656514"/>
                    <a:pt x="4102094" y="1703913"/>
                    <a:pt x="3770963" y="1685634"/>
                  </a:cubicBezTo>
                  <a:cubicBezTo>
                    <a:pt x="3439832" y="1667355"/>
                    <a:pt x="3365912" y="1694124"/>
                    <a:pt x="3028833" y="1685634"/>
                  </a:cubicBezTo>
                  <a:cubicBezTo>
                    <a:pt x="2691754" y="1677145"/>
                    <a:pt x="2591610" y="1659600"/>
                    <a:pt x="2433791" y="1685634"/>
                  </a:cubicBezTo>
                  <a:cubicBezTo>
                    <a:pt x="2275972" y="1711668"/>
                    <a:pt x="1959429" y="1703281"/>
                    <a:pt x="1691661" y="1685634"/>
                  </a:cubicBezTo>
                  <a:cubicBezTo>
                    <a:pt x="1423893" y="1667988"/>
                    <a:pt x="1260851" y="1681770"/>
                    <a:pt x="1096620" y="1685634"/>
                  </a:cubicBezTo>
                  <a:cubicBezTo>
                    <a:pt x="932389" y="1689498"/>
                    <a:pt x="616784" y="1659176"/>
                    <a:pt x="280945" y="1685634"/>
                  </a:cubicBezTo>
                  <a:cubicBezTo>
                    <a:pt x="116665" y="1676301"/>
                    <a:pt x="-4228" y="1572424"/>
                    <a:pt x="0" y="1404689"/>
                  </a:cubicBezTo>
                  <a:cubicBezTo>
                    <a:pt x="-19867" y="1281009"/>
                    <a:pt x="-21464" y="1058349"/>
                    <a:pt x="0" y="876529"/>
                  </a:cubicBezTo>
                  <a:cubicBezTo>
                    <a:pt x="21464" y="694709"/>
                    <a:pt x="-17976" y="403049"/>
                    <a:pt x="0" y="280945"/>
                  </a:cubicBezTo>
                  <a:close/>
                </a:path>
              </a:pathLst>
            </a:custGeom>
            <a:solidFill>
              <a:schemeClr val="accent4">
                <a:lumMod val="20000"/>
                <a:lumOff val="80000"/>
              </a:schemeClr>
            </a:solidFill>
            <a:ln w="9525">
              <a:solidFill>
                <a:schemeClr val="bg1">
                  <a:lumMod val="95000"/>
                </a:schemeClr>
              </a:solidFill>
              <a:extLst>
                <a:ext uri="{C807C97D-BFC1-408E-A445-0C87EB9F89A2}">
                  <ask:lineSketchStyleProps xmlns:ask="http://schemas.microsoft.com/office/drawing/2018/sketchyshapes" sd="3403945204">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085850" lvl="2" indent="-171450">
                <a:buFont typeface="Arial" panose="020B0604020202020204" pitchFamily="34" charset="0"/>
                <a:buChar char="•"/>
              </a:pPr>
              <a:r>
                <a:rPr lang="pt-BR" sz="1600" dirty="0">
                  <a:solidFill>
                    <a:schemeClr val="tx1"/>
                  </a:solidFill>
                  <a:latin typeface="Arial" panose="020B0604020202020204" pitchFamily="34" charset="0"/>
                  <a:cs typeface="Arial" panose="020B0604020202020204" pitchFamily="34" charset="0"/>
                </a:rPr>
                <a:t>Recomendamos que escolham as ferramentas com as quais se sentam confortáveis.</a:t>
              </a:r>
            </a:p>
            <a:p>
              <a:pPr marL="1085850" lvl="2" indent="-171450">
                <a:buFont typeface="Arial" panose="020B0604020202020204" pitchFamily="34" charset="0"/>
                <a:buChar char="•"/>
              </a:pPr>
              <a:r>
                <a:rPr lang="pt-BR" sz="1600" dirty="0">
                  <a:solidFill>
                    <a:schemeClr val="tx1"/>
                  </a:solidFill>
                  <a:latin typeface="Arial" panose="020B0604020202020204" pitchFamily="34" charset="0"/>
                  <a:cs typeface="Arial" panose="020B0604020202020204" pitchFamily="34" charset="0"/>
                </a:rPr>
                <a:t>Não gastem muito tempo aprendendo a usar ferramentas muito complexas. </a:t>
              </a:r>
            </a:p>
            <a:p>
              <a:pPr marL="1085850" lvl="2" indent="-171450">
                <a:buFont typeface="Arial" panose="020B0604020202020204" pitchFamily="34" charset="0"/>
                <a:buChar char="•"/>
              </a:pPr>
              <a:r>
                <a:rPr lang="pt-BR" sz="1600" dirty="0">
                  <a:solidFill>
                    <a:schemeClr val="tx1"/>
                  </a:solidFill>
                  <a:latin typeface="Arial" panose="020B0604020202020204" pitchFamily="34" charset="0"/>
                  <a:cs typeface="Arial" panose="020B0604020202020204" pitchFamily="34" charset="0"/>
                </a:rPr>
                <a:t>Antes de começar, verifiquem as restrições de cada ferramenta (algumas podem exigir pagamento por certas funcionalidades).</a:t>
              </a:r>
              <a:endParaRPr lang="es-CO" sz="1600" dirty="0">
                <a:solidFill>
                  <a:schemeClr val="tx1"/>
                </a:solidFill>
                <a:latin typeface="Arial" panose="020B0604020202020204" pitchFamily="34" charset="0"/>
                <a:cs typeface="Arial" panose="020B0604020202020204" pitchFamily="34" charset="0"/>
              </a:endParaRPr>
            </a:p>
          </p:txBody>
        </p:sp>
        <p:pic>
          <p:nvPicPr>
            <p:cNvPr id="4" name="Graphic 3" descr="Lights On with solid fill">
              <a:extLst>
                <a:ext uri="{FF2B5EF4-FFF2-40B4-BE49-F238E27FC236}">
                  <a16:creationId xmlns:a16="http://schemas.microsoft.com/office/drawing/2014/main" id="{FE185935-83F9-42E2-BE95-6DF020A0FF0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62867" y="4929980"/>
              <a:ext cx="914400" cy="914400"/>
            </a:xfrm>
            <a:prstGeom prst="rect">
              <a:avLst/>
            </a:prstGeom>
          </p:spPr>
        </p:pic>
      </p:grpSp>
      <p:sp>
        <p:nvSpPr>
          <p:cNvPr id="7" name="TextBox 6">
            <a:extLst>
              <a:ext uri="{FF2B5EF4-FFF2-40B4-BE49-F238E27FC236}">
                <a16:creationId xmlns:a16="http://schemas.microsoft.com/office/drawing/2014/main" id="{F2E0B432-0417-454C-AE55-3BA2111273C6}"/>
              </a:ext>
            </a:extLst>
          </p:cNvPr>
          <p:cNvSpPr txBox="1"/>
          <p:nvPr/>
        </p:nvSpPr>
        <p:spPr>
          <a:xfrm>
            <a:off x="553451" y="362193"/>
            <a:ext cx="10838046" cy="901593"/>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s-CO" sz="4000" b="1" dirty="0">
                <a:solidFill>
                  <a:prstClr val="white"/>
                </a:solidFill>
                <a:latin typeface="Arial" panose="020B0604020202020204" pitchFamily="34" charset="0"/>
                <a:cs typeface="Arial" panose="020B0604020202020204" pitchFamily="34" charset="0"/>
              </a:rPr>
              <a:t>INSTRUÇÕES</a:t>
            </a:r>
          </a:p>
        </p:txBody>
      </p:sp>
    </p:spTree>
    <p:extLst>
      <p:ext uri="{BB962C8B-B14F-4D97-AF65-F5344CB8AC3E}">
        <p14:creationId xmlns:p14="http://schemas.microsoft.com/office/powerpoint/2010/main" val="35979376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C9C36564-731C-4B86-BEBD-F18FEC8B3262}"/>
              </a:ext>
            </a:extLst>
          </p:cNvPr>
          <p:cNvSpPr/>
          <p:nvPr/>
        </p:nvSpPr>
        <p:spPr>
          <a:xfrm>
            <a:off x="8991600" y="296799"/>
            <a:ext cx="2836349" cy="3448154"/>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dirty="0">
                <a:solidFill>
                  <a:sysClr val="windowText" lastClr="000000"/>
                </a:solidFill>
                <a:latin typeface="Arial" panose="020B0604020202020204" pitchFamily="34" charset="0"/>
                <a:cs typeface="Arial" panose="020B0604020202020204" pitchFamily="34" charset="0"/>
              </a:rPr>
              <a:t>2. </a:t>
            </a:r>
            <a:r>
              <a:rPr lang="pt-BR" sz="1600" b="1" cap="all" dirty="0">
                <a:solidFill>
                  <a:sysClr val="windowText" lastClr="000000"/>
                </a:solidFill>
                <a:latin typeface="Arial" panose="020B0604020202020204" pitchFamily="34" charset="0"/>
                <a:cs typeface="Arial" panose="020B0604020202020204" pitchFamily="34" charset="0"/>
              </a:rPr>
              <a:t>Estrutura do </a:t>
            </a:r>
            <a:br>
              <a:rPr lang="pt-BR" sz="1600" b="1" cap="all" dirty="0">
                <a:solidFill>
                  <a:sysClr val="windowText" lastClr="000000"/>
                </a:solidFill>
                <a:latin typeface="Arial" panose="020B0604020202020204" pitchFamily="34" charset="0"/>
                <a:cs typeface="Arial" panose="020B0604020202020204" pitchFamily="34" charset="0"/>
              </a:rPr>
            </a:br>
            <a:r>
              <a:rPr lang="pt-BR" sz="1600" b="1" cap="all" dirty="0">
                <a:solidFill>
                  <a:sysClr val="windowText" lastClr="000000"/>
                </a:solidFill>
                <a:latin typeface="Arial" panose="020B0604020202020204" pitchFamily="34" charset="0"/>
                <a:cs typeface="Arial" panose="020B0604020202020204" pitchFamily="34" charset="0"/>
              </a:rPr>
              <a:t>negócio</a:t>
            </a:r>
          </a:p>
        </p:txBody>
      </p:sp>
      <p:grpSp>
        <p:nvGrpSpPr>
          <p:cNvPr id="3" name="Group 2">
            <a:extLst>
              <a:ext uri="{FF2B5EF4-FFF2-40B4-BE49-F238E27FC236}">
                <a16:creationId xmlns:a16="http://schemas.microsoft.com/office/drawing/2014/main" id="{F92F63AE-D852-44C5-839D-7C4A2E0DC9C6}"/>
              </a:ext>
            </a:extLst>
          </p:cNvPr>
          <p:cNvGrpSpPr/>
          <p:nvPr/>
        </p:nvGrpSpPr>
        <p:grpSpPr>
          <a:xfrm>
            <a:off x="4967414" y="296800"/>
            <a:ext cx="3824914" cy="3448155"/>
            <a:chOff x="4016143" y="167071"/>
            <a:chExt cx="3824914" cy="3104699"/>
          </a:xfrm>
        </p:grpSpPr>
        <p:sp>
          <p:nvSpPr>
            <p:cNvPr id="59" name="Rectangle 58">
              <a:extLst>
                <a:ext uri="{FF2B5EF4-FFF2-40B4-BE49-F238E27FC236}">
                  <a16:creationId xmlns:a16="http://schemas.microsoft.com/office/drawing/2014/main" id="{422A93F6-EA38-4E0A-B73A-64A31DA215B7}"/>
                </a:ext>
              </a:extLst>
            </p:cNvPr>
            <p:cNvSpPr/>
            <p:nvPr/>
          </p:nvSpPr>
          <p:spPr>
            <a:xfrm>
              <a:off x="4016143" y="167071"/>
              <a:ext cx="3824914" cy="3104699"/>
            </a:xfrm>
            <a:prstGeom prst="rect">
              <a:avLst/>
            </a:prstGeom>
            <a:solidFill>
              <a:srgbClr val="EA3A5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dirty="0">
                  <a:solidFill>
                    <a:sysClr val="windowText" lastClr="000000"/>
                  </a:solidFill>
                  <a:latin typeface="Arial" panose="020B0604020202020204" pitchFamily="34" charset="0"/>
                  <a:cs typeface="Arial" panose="020B0604020202020204" pitchFamily="34" charset="0"/>
                </a:rPr>
                <a:t>1. </a:t>
              </a:r>
              <a:r>
                <a:rPr lang="pt-BR" sz="1600" b="1" cap="all" dirty="0">
                  <a:solidFill>
                    <a:sysClr val="windowText" lastClr="000000"/>
                  </a:solidFill>
                  <a:latin typeface="Arial" panose="020B0604020202020204" pitchFamily="34" charset="0"/>
                  <a:cs typeface="Arial" panose="020B0604020202020204" pitchFamily="34" charset="0"/>
                </a:rPr>
                <a:t>Estratégia operacional</a:t>
              </a:r>
            </a:p>
            <a:p>
              <a:endParaRPr lang="en-US" sz="1600" dirty="0">
                <a:solidFill>
                  <a:sysClr val="windowText" lastClr="000000"/>
                </a:solidFill>
                <a:latin typeface="Arial" panose="020B0604020202020204" pitchFamily="34" charset="0"/>
                <a:cs typeface="Arial" panose="020B0604020202020204" pitchFamily="34" charset="0"/>
              </a:endParaRPr>
            </a:p>
          </p:txBody>
        </p:sp>
        <p:sp>
          <p:nvSpPr>
            <p:cNvPr id="66" name="TextBox 65">
              <a:extLst>
                <a:ext uri="{FF2B5EF4-FFF2-40B4-BE49-F238E27FC236}">
                  <a16:creationId xmlns:a16="http://schemas.microsoft.com/office/drawing/2014/main" id="{681673FD-1728-4EAC-B461-E6A26E7D5B58}"/>
                </a:ext>
              </a:extLst>
            </p:cNvPr>
            <p:cNvSpPr txBox="1"/>
            <p:nvPr/>
          </p:nvSpPr>
          <p:spPr>
            <a:xfrm>
              <a:off x="4154168" y="464343"/>
              <a:ext cx="3564442" cy="25924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pt-BR" sz="1400" dirty="0">
                  <a:solidFill>
                    <a:sysClr val="windowText" lastClr="000000"/>
                  </a:solidFill>
                  <a:latin typeface="Arial" panose="020B0604020202020204" pitchFamily="34" charset="0"/>
                  <a:cs typeface="Arial" panose="020B0604020202020204" pitchFamily="34" charset="0"/>
                </a:rPr>
                <a:t>Definir três iniciativas que permitam operacionalizar a estratégia do processo selecionado. </a:t>
              </a:r>
            </a:p>
            <a:p>
              <a:pPr marL="342900" indent="-342900">
                <a:lnSpc>
                  <a:spcPct val="85000"/>
                </a:lnSpc>
                <a:spcAft>
                  <a:spcPts val="600"/>
                </a:spcAft>
                <a:buClr>
                  <a:schemeClr val="tx1"/>
                </a:buClr>
                <a:buSzPct val="70000"/>
                <a:buFont typeface="+mj-lt"/>
                <a:buAutoNum type="arabicPeriod"/>
              </a:pPr>
              <a:r>
                <a:rPr lang="pt-BR" sz="1400" dirty="0">
                  <a:solidFill>
                    <a:sysClr val="windowText" lastClr="000000"/>
                  </a:solidFill>
                  <a:latin typeface="Arial" panose="020B0604020202020204" pitchFamily="34" charset="0"/>
                  <a:cs typeface="Arial" panose="020B0604020202020204" pitchFamily="34" charset="0"/>
                </a:rPr>
                <a:t>Indicar claramente a estratégia</a:t>
              </a:r>
            </a:p>
            <a:p>
              <a:pPr marL="342900" indent="-342900">
                <a:lnSpc>
                  <a:spcPct val="85000"/>
                </a:lnSpc>
                <a:spcAft>
                  <a:spcPts val="600"/>
                </a:spcAft>
                <a:buClr>
                  <a:schemeClr val="tx1"/>
                </a:buClr>
                <a:buSzPct val="70000"/>
                <a:buFont typeface="+mj-lt"/>
                <a:buAutoNum type="arabicPeriod"/>
              </a:pPr>
              <a:r>
                <a:rPr lang="pt-BR" sz="1400" dirty="0">
                  <a:solidFill>
                    <a:sysClr val="windowText" lastClr="000000"/>
                  </a:solidFill>
                  <a:latin typeface="Arial" panose="020B0604020202020204" pitchFamily="34" charset="0"/>
                  <a:cs typeface="Arial" panose="020B0604020202020204" pitchFamily="34" charset="0"/>
                </a:rPr>
                <a:t>Definir três iniciativas </a:t>
              </a:r>
            </a:p>
            <a:p>
              <a:pPr marL="742950" lvl="1" indent="-285750">
                <a:lnSpc>
                  <a:spcPct val="85000"/>
                </a:lnSpc>
                <a:spcAft>
                  <a:spcPts val="600"/>
                </a:spcAft>
                <a:buClr>
                  <a:schemeClr val="tx1"/>
                </a:buClr>
                <a:buSzPct val="70000"/>
                <a:buFont typeface="Arial" panose="020B0604020202020204" pitchFamily="34" charset="0"/>
                <a:buChar char="•"/>
              </a:pPr>
              <a:r>
                <a:rPr lang="pt-BR" sz="1400" dirty="0" err="1">
                  <a:solidFill>
                    <a:sysClr val="windowText" lastClr="000000"/>
                  </a:solidFill>
                  <a:latin typeface="Arial" panose="020B0604020202020204" pitchFamily="34" charset="0"/>
                  <a:cs typeface="Arial" panose="020B0604020202020204" pitchFamily="34" charset="0"/>
                </a:rPr>
                <a:t>Idéia</a:t>
              </a:r>
              <a:r>
                <a:rPr lang="pt-BR" sz="1400" dirty="0">
                  <a:solidFill>
                    <a:sysClr val="windowText" lastClr="000000"/>
                  </a:solidFill>
                  <a:latin typeface="Arial" panose="020B0604020202020204" pitchFamily="34" charset="0"/>
                  <a:cs typeface="Arial" panose="020B0604020202020204" pitchFamily="34" charset="0"/>
                </a:rPr>
                <a:t> 1: curto prazo</a:t>
              </a:r>
            </a:p>
            <a:p>
              <a:pPr marL="742950" lvl="1" indent="-285750">
                <a:lnSpc>
                  <a:spcPct val="85000"/>
                </a:lnSpc>
                <a:spcAft>
                  <a:spcPts val="600"/>
                </a:spcAft>
                <a:buClr>
                  <a:schemeClr val="tx1"/>
                </a:buClr>
                <a:buSzPct val="70000"/>
                <a:buFont typeface="Arial" panose="020B0604020202020204" pitchFamily="34" charset="0"/>
                <a:buChar char="•"/>
              </a:pPr>
              <a:r>
                <a:rPr lang="pt-BR" sz="1400" dirty="0" err="1">
                  <a:solidFill>
                    <a:sysClr val="windowText" lastClr="000000"/>
                  </a:solidFill>
                  <a:latin typeface="Arial" panose="020B0604020202020204" pitchFamily="34" charset="0"/>
                  <a:cs typeface="Arial" panose="020B0604020202020204" pitchFamily="34" charset="0"/>
                </a:rPr>
                <a:t>Idéia</a:t>
              </a:r>
              <a:r>
                <a:rPr lang="pt-BR" sz="1400" dirty="0">
                  <a:solidFill>
                    <a:sysClr val="windowText" lastClr="000000"/>
                  </a:solidFill>
                  <a:latin typeface="Arial" panose="020B0604020202020204" pitchFamily="34" charset="0"/>
                  <a:cs typeface="Arial" panose="020B0604020202020204" pitchFamily="34" charset="0"/>
                </a:rPr>
                <a:t> 2: termo médium</a:t>
              </a:r>
            </a:p>
            <a:p>
              <a:pPr marL="742950" lvl="1" indent="-285750">
                <a:lnSpc>
                  <a:spcPct val="85000"/>
                </a:lnSpc>
                <a:spcAft>
                  <a:spcPts val="600"/>
                </a:spcAft>
                <a:buClr>
                  <a:schemeClr val="tx1"/>
                </a:buClr>
                <a:buSzPct val="70000"/>
                <a:buFont typeface="Arial" panose="020B0604020202020204" pitchFamily="34" charset="0"/>
                <a:buChar char="•"/>
              </a:pPr>
              <a:r>
                <a:rPr lang="pt-BR" sz="1400" dirty="0" err="1">
                  <a:solidFill>
                    <a:sysClr val="windowText" lastClr="000000"/>
                  </a:solidFill>
                  <a:latin typeface="Arial" panose="020B0604020202020204" pitchFamily="34" charset="0"/>
                  <a:cs typeface="Arial" panose="020B0604020202020204" pitchFamily="34" charset="0"/>
                </a:rPr>
                <a:t>Idéia</a:t>
              </a:r>
              <a:r>
                <a:rPr lang="pt-BR" sz="1400" dirty="0">
                  <a:solidFill>
                    <a:sysClr val="windowText" lastClr="000000"/>
                  </a:solidFill>
                  <a:latin typeface="Arial" panose="020B0604020202020204" pitchFamily="34" charset="0"/>
                  <a:cs typeface="Arial" panose="020B0604020202020204" pitchFamily="34" charset="0"/>
                </a:rPr>
                <a:t> 3: longo prazo</a:t>
              </a:r>
            </a:p>
            <a:p>
              <a:pPr>
                <a:lnSpc>
                  <a:spcPct val="85000"/>
                </a:lnSpc>
                <a:spcAft>
                  <a:spcPts val="600"/>
                </a:spcAft>
                <a:buClr>
                  <a:schemeClr val="accent2"/>
                </a:buClr>
                <a:buSzPct val="70000"/>
              </a:pPr>
              <a:r>
                <a:rPr lang="pt-BR" sz="1400" dirty="0">
                  <a:solidFill>
                    <a:sysClr val="windowText" lastClr="000000"/>
                  </a:solidFill>
                  <a:latin typeface="Arial" panose="020B0604020202020204" pitchFamily="34" charset="0"/>
                  <a:cs typeface="Arial" panose="020B0604020202020204" pitchFamily="34" charset="0"/>
                </a:rPr>
                <a:t>Lembre-se de que uma iniciativa é uma </a:t>
              </a:r>
              <a:r>
                <a:rPr lang="pt-BR" sz="1400" dirty="0" err="1">
                  <a:solidFill>
                    <a:sysClr val="windowText" lastClr="000000"/>
                  </a:solidFill>
                  <a:latin typeface="Arial" panose="020B0604020202020204" pitchFamily="34" charset="0"/>
                  <a:cs typeface="Arial" panose="020B0604020202020204" pitchFamily="34" charset="0"/>
                </a:rPr>
                <a:t>idéia</a:t>
              </a:r>
              <a:r>
                <a:rPr lang="pt-BR" sz="1400" dirty="0">
                  <a:solidFill>
                    <a:sysClr val="windowText" lastClr="000000"/>
                  </a:solidFill>
                  <a:latin typeface="Arial" panose="020B0604020202020204" pitchFamily="34" charset="0"/>
                  <a:cs typeface="Arial" panose="020B0604020202020204" pitchFamily="34" charset="0"/>
                </a:rPr>
                <a:t> acionável. Escreva três </a:t>
              </a:r>
              <a:r>
                <a:rPr lang="pt-BR" sz="1400" dirty="0" err="1">
                  <a:solidFill>
                    <a:sysClr val="windowText" lastClr="000000"/>
                  </a:solidFill>
                  <a:latin typeface="Arial" panose="020B0604020202020204" pitchFamily="34" charset="0"/>
                  <a:cs typeface="Arial" panose="020B0604020202020204" pitchFamily="34" charset="0"/>
                </a:rPr>
                <a:t>idéias</a:t>
              </a:r>
              <a:r>
                <a:rPr lang="pt-BR" sz="1400" dirty="0">
                  <a:solidFill>
                    <a:sysClr val="windowText" lastClr="000000"/>
                  </a:solidFill>
                  <a:latin typeface="Arial" panose="020B0604020202020204" pitchFamily="34" charset="0"/>
                  <a:cs typeface="Arial" panose="020B0604020202020204" pitchFamily="34" charset="0"/>
                </a:rPr>
                <a:t> claras que lhe permitam entender onde e como sua empresa deve se mover para materializar a estratégia.</a:t>
              </a:r>
            </a:p>
          </p:txBody>
        </p:sp>
      </p:grpSp>
      <p:sp>
        <p:nvSpPr>
          <p:cNvPr id="67" name="TextBox 66">
            <a:extLst>
              <a:ext uri="{FF2B5EF4-FFF2-40B4-BE49-F238E27FC236}">
                <a16:creationId xmlns:a16="http://schemas.microsoft.com/office/drawing/2014/main" id="{40468A0C-FBD1-4E98-A3DD-BDE0DE998A2A}"/>
              </a:ext>
            </a:extLst>
          </p:cNvPr>
          <p:cNvSpPr txBox="1"/>
          <p:nvPr/>
        </p:nvSpPr>
        <p:spPr>
          <a:xfrm>
            <a:off x="9150988" y="1031684"/>
            <a:ext cx="2535334" cy="2252924"/>
          </a:xfrm>
          <a:prstGeom prst="rect">
            <a:avLst/>
          </a:prstGeom>
          <a:noFill/>
        </p:spPr>
        <p:txBody>
          <a:bodyPr wrap="square" lIns="0" tIns="36576" rIns="0" bIns="0" rtlCol="0">
            <a:spAutoFit/>
          </a:bodyPr>
          <a:lstStyle/>
          <a:p>
            <a:r>
              <a:rPr lang="pt-BR" sz="1200" dirty="0">
                <a:solidFill>
                  <a:schemeClr val="bg2"/>
                </a:solidFill>
                <a:latin typeface="Arial" panose="020B0604020202020204" pitchFamily="34" charset="0"/>
                <a:cs typeface="Arial" panose="020B0604020202020204" pitchFamily="34" charset="0"/>
              </a:rPr>
              <a:t>Agora que você está claro sobre sua estratégia e as iniciativas para torná-la uma realidade:</a:t>
            </a:r>
          </a:p>
          <a:p>
            <a:endParaRPr lang="pt-BR" sz="1200" dirty="0">
              <a:solidFill>
                <a:schemeClr val="bg2"/>
              </a:solidFill>
              <a:latin typeface="Arial" panose="020B0604020202020204" pitchFamily="34" charset="0"/>
              <a:cs typeface="Arial" panose="020B0604020202020204" pitchFamily="34" charset="0"/>
            </a:endParaRPr>
          </a:p>
          <a:p>
            <a:pPr marL="228600" indent="-228600">
              <a:buFont typeface="+mj-lt"/>
              <a:buAutoNum type="arabicPeriod"/>
            </a:pPr>
            <a:r>
              <a:rPr lang="pt-BR" sz="1200" dirty="0">
                <a:solidFill>
                  <a:schemeClr val="bg2"/>
                </a:solidFill>
                <a:latin typeface="Arial" panose="020B0604020202020204" pitchFamily="34" charset="0"/>
                <a:cs typeface="Arial" panose="020B0604020202020204" pitchFamily="34" charset="0"/>
              </a:rPr>
              <a:t>Descreva as atividades que você realiza atualmente em seu processo selecionado.</a:t>
            </a:r>
          </a:p>
          <a:p>
            <a:pPr marL="228600" indent="-228600">
              <a:buFont typeface="+mj-lt"/>
              <a:buAutoNum type="arabicPeriod"/>
            </a:pPr>
            <a:endParaRPr lang="pt-BR" sz="1200" dirty="0">
              <a:solidFill>
                <a:schemeClr val="bg2"/>
              </a:solidFill>
              <a:latin typeface="Arial" panose="020B0604020202020204" pitchFamily="34" charset="0"/>
              <a:cs typeface="Arial" panose="020B0604020202020204" pitchFamily="34" charset="0"/>
            </a:endParaRPr>
          </a:p>
          <a:p>
            <a:pPr marL="228600" indent="-228600">
              <a:buFont typeface="+mj-lt"/>
              <a:buAutoNum type="arabicPeriod"/>
            </a:pPr>
            <a:r>
              <a:rPr lang="pt-BR" sz="1200" dirty="0">
                <a:solidFill>
                  <a:schemeClr val="bg2"/>
                </a:solidFill>
                <a:latin typeface="Arial" panose="020B0604020202020204" pitchFamily="34" charset="0"/>
                <a:cs typeface="Arial" panose="020B0604020202020204" pitchFamily="34" charset="0"/>
              </a:rPr>
              <a:t>E descreva quais atividades você deve mudar ou incorporar para implementar suas iniciativas e materializar sua estratégia.</a:t>
            </a:r>
          </a:p>
        </p:txBody>
      </p:sp>
      <p:grpSp>
        <p:nvGrpSpPr>
          <p:cNvPr id="5" name="Group 4">
            <a:extLst>
              <a:ext uri="{FF2B5EF4-FFF2-40B4-BE49-F238E27FC236}">
                <a16:creationId xmlns:a16="http://schemas.microsoft.com/office/drawing/2014/main" id="{DDABD6B2-AE84-4CDF-96E8-9E65092454F6}"/>
              </a:ext>
            </a:extLst>
          </p:cNvPr>
          <p:cNvGrpSpPr/>
          <p:nvPr/>
        </p:nvGrpSpPr>
        <p:grpSpPr>
          <a:xfrm>
            <a:off x="740684" y="3409033"/>
            <a:ext cx="3824914" cy="3209542"/>
            <a:chOff x="7106092" y="296798"/>
            <a:chExt cx="3824914" cy="3448153"/>
          </a:xfrm>
        </p:grpSpPr>
        <p:sp>
          <p:nvSpPr>
            <p:cNvPr id="63" name="Rectangle 62">
              <a:extLst>
                <a:ext uri="{FF2B5EF4-FFF2-40B4-BE49-F238E27FC236}">
                  <a16:creationId xmlns:a16="http://schemas.microsoft.com/office/drawing/2014/main" id="{826F8B44-A45F-4921-BA1C-BB16C2ACBC8D}"/>
                </a:ext>
              </a:extLst>
            </p:cNvPr>
            <p:cNvSpPr/>
            <p:nvPr/>
          </p:nvSpPr>
          <p:spPr>
            <a:xfrm>
              <a:off x="7106092" y="296798"/>
              <a:ext cx="3824914" cy="344815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dirty="0">
                  <a:solidFill>
                    <a:sysClr val="windowText" lastClr="000000"/>
                  </a:solidFill>
                  <a:latin typeface="Arial" panose="020B0604020202020204" pitchFamily="34" charset="0"/>
                  <a:cs typeface="Arial" panose="020B0604020202020204" pitchFamily="34" charset="0"/>
                </a:rPr>
                <a:t>3. </a:t>
              </a:r>
              <a:r>
                <a:rPr lang="pt-BR" sz="1600" b="1" cap="all" dirty="0">
                  <a:solidFill>
                    <a:sysClr val="windowText" lastClr="000000"/>
                  </a:solidFill>
                  <a:latin typeface="Arial" panose="020B0604020202020204" pitchFamily="34" charset="0"/>
                  <a:cs typeface="Arial" panose="020B0604020202020204" pitchFamily="34" charset="0"/>
                </a:rPr>
                <a:t>Pessoas e Organização</a:t>
              </a:r>
            </a:p>
            <a:p>
              <a:endParaRPr lang="es-CO" sz="1600" b="1" cap="all" dirty="0">
                <a:solidFill>
                  <a:sysClr val="windowText" lastClr="000000"/>
                </a:solidFill>
                <a:latin typeface="Arial" panose="020B0604020202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F211D6F8-36F3-48C3-91A1-FB236F9BA408}"/>
                </a:ext>
              </a:extLst>
            </p:cNvPr>
            <p:cNvSpPr txBox="1"/>
            <p:nvPr/>
          </p:nvSpPr>
          <p:spPr>
            <a:xfrm>
              <a:off x="7301807" y="837784"/>
              <a:ext cx="3433484" cy="2618811"/>
            </a:xfrm>
            <a:prstGeom prst="rect">
              <a:avLst/>
            </a:prstGeom>
            <a:noFill/>
          </p:spPr>
          <p:txBody>
            <a:bodyPr wrap="square" lIns="0" tIns="36576" rIns="0" bIns="0" rtlCol="0">
              <a:spAutoFit/>
            </a:bodyPr>
            <a:lstStyle/>
            <a:p>
              <a:r>
                <a:rPr lang="pt-BR" sz="1200" dirty="0">
                  <a:solidFill>
                    <a:sysClr val="windowText" lastClr="000000"/>
                  </a:solidFill>
                  <a:latin typeface="Arial" panose="020B0604020202020204" pitchFamily="34" charset="0"/>
                  <a:cs typeface="Arial" panose="020B0604020202020204" pitchFamily="34" charset="0"/>
                </a:rPr>
                <a:t>As mudanças na arquitetura de sua empresa devem provocar mudanças nas pessoas que executam os processos e atividades, desta forma:</a:t>
              </a:r>
            </a:p>
            <a:p>
              <a:endParaRPr lang="pt-BR" sz="1200" dirty="0">
                <a:solidFill>
                  <a:sysClr val="windowText" lastClr="000000"/>
                </a:solidFill>
                <a:latin typeface="Arial" panose="020B0604020202020204" pitchFamily="34" charset="0"/>
                <a:cs typeface="Arial" panose="020B0604020202020204" pitchFamily="34" charset="0"/>
              </a:endParaRPr>
            </a:p>
            <a:p>
              <a:pPr marL="228600" indent="-228600">
                <a:buFont typeface="+mj-lt"/>
                <a:buAutoNum type="arabicPeriod"/>
              </a:pPr>
              <a:r>
                <a:rPr lang="pt-BR" sz="1200" dirty="0">
                  <a:solidFill>
                    <a:sysClr val="windowText" lastClr="000000"/>
                  </a:solidFill>
                  <a:latin typeface="Arial" panose="020B0604020202020204" pitchFamily="34" charset="0"/>
                  <a:cs typeface="Arial" panose="020B0604020202020204" pitchFamily="34" charset="0"/>
                </a:rPr>
                <a:t>Identificar os papéis e funções que devem ser desempenhados para realizar as novas atividades descritas na etapa anterior.</a:t>
              </a:r>
            </a:p>
            <a:p>
              <a:pPr marL="228600" indent="-228600">
                <a:buFont typeface="+mj-lt"/>
                <a:buAutoNum type="arabicPeriod"/>
              </a:pPr>
              <a:endParaRPr lang="pt-BR" sz="1200" dirty="0">
                <a:solidFill>
                  <a:sysClr val="windowText" lastClr="000000"/>
                </a:solidFill>
                <a:latin typeface="Arial" panose="020B0604020202020204" pitchFamily="34" charset="0"/>
                <a:cs typeface="Arial" panose="020B0604020202020204" pitchFamily="34" charset="0"/>
              </a:endParaRPr>
            </a:p>
            <a:p>
              <a:pPr marL="228600" indent="-228600">
                <a:buFont typeface="+mj-lt"/>
                <a:buAutoNum type="arabicPeriod"/>
              </a:pPr>
              <a:r>
                <a:rPr lang="pt-BR" sz="1200" dirty="0">
                  <a:solidFill>
                    <a:sysClr val="windowText" lastClr="000000"/>
                  </a:solidFill>
                  <a:latin typeface="Arial" panose="020B0604020202020204" pitchFamily="34" charset="0"/>
                  <a:cs typeface="Arial" panose="020B0604020202020204" pitchFamily="34" charset="0"/>
                </a:rPr>
                <a:t>Indicar as habilidades necessárias para o cumprimento dos papéis e funções. (As habilidades variam de tópicos técnicos, como software de gerenciamento, a soft skills, como liderança e trabalho em equipe.)</a:t>
              </a:r>
            </a:p>
          </p:txBody>
        </p:sp>
      </p:grpSp>
      <p:grpSp>
        <p:nvGrpSpPr>
          <p:cNvPr id="2" name="Group 1">
            <a:extLst>
              <a:ext uri="{FF2B5EF4-FFF2-40B4-BE49-F238E27FC236}">
                <a16:creationId xmlns:a16="http://schemas.microsoft.com/office/drawing/2014/main" id="{B5E2AE52-EFF4-4B42-9C49-31FB5B6EF685}"/>
              </a:ext>
            </a:extLst>
          </p:cNvPr>
          <p:cNvGrpSpPr/>
          <p:nvPr/>
        </p:nvGrpSpPr>
        <p:grpSpPr>
          <a:xfrm>
            <a:off x="8792327" y="3934309"/>
            <a:ext cx="3035621" cy="2659172"/>
            <a:chOff x="336133" y="1064096"/>
            <a:chExt cx="2912609" cy="2659172"/>
          </a:xfrm>
        </p:grpSpPr>
        <p:sp>
          <p:nvSpPr>
            <p:cNvPr id="69" name="Rectangle 68">
              <a:extLst>
                <a:ext uri="{FF2B5EF4-FFF2-40B4-BE49-F238E27FC236}">
                  <a16:creationId xmlns:a16="http://schemas.microsoft.com/office/drawing/2014/main" id="{391E7FE5-F827-43AB-AF69-B560CA81E82C}"/>
                </a:ext>
              </a:extLst>
            </p:cNvPr>
            <p:cNvSpPr/>
            <p:nvPr/>
          </p:nvSpPr>
          <p:spPr>
            <a:xfrm>
              <a:off x="336133" y="1064096"/>
              <a:ext cx="2912609" cy="2659172"/>
            </a:xfrm>
            <a:prstGeom prst="rect">
              <a:avLst/>
            </a:prstGeom>
            <a:solidFill>
              <a:srgbClr val="D4BF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dirty="0">
                  <a:solidFill>
                    <a:sysClr val="windowText" lastClr="000000"/>
                  </a:solidFill>
                  <a:latin typeface="Arial" panose="020B0604020202020204" pitchFamily="34" charset="0"/>
                  <a:cs typeface="Arial" panose="020B0604020202020204" pitchFamily="34" charset="0"/>
                </a:rPr>
                <a:t>5. </a:t>
              </a:r>
              <a:r>
                <a:rPr lang="pt-BR" sz="1600" b="1" cap="all" dirty="0">
                  <a:solidFill>
                    <a:sysClr val="windowText" lastClr="000000"/>
                  </a:solidFill>
                  <a:latin typeface="Arial" panose="020B0604020202020204" pitchFamily="34" charset="0"/>
                  <a:cs typeface="Arial" panose="020B0604020202020204" pitchFamily="34" charset="0"/>
                </a:rPr>
                <a:t>Desempenho do </a:t>
              </a:r>
              <a:br>
                <a:rPr lang="pt-BR" sz="1600" b="1" cap="all" dirty="0">
                  <a:solidFill>
                    <a:sysClr val="windowText" lastClr="000000"/>
                  </a:solidFill>
                  <a:latin typeface="Arial" panose="020B0604020202020204" pitchFamily="34" charset="0"/>
                  <a:cs typeface="Arial" panose="020B0604020202020204" pitchFamily="34" charset="0"/>
                </a:rPr>
              </a:br>
              <a:r>
                <a:rPr lang="pt-BR" sz="1600" b="1" cap="all" dirty="0">
                  <a:solidFill>
                    <a:sysClr val="windowText" lastClr="000000"/>
                  </a:solidFill>
                  <a:latin typeface="Arial" panose="020B0604020202020204" pitchFamily="34" charset="0"/>
                  <a:cs typeface="Arial" panose="020B0604020202020204" pitchFamily="34" charset="0"/>
                </a:rPr>
                <a:t>Rendimento</a:t>
              </a:r>
            </a:p>
            <a:p>
              <a:endParaRPr lang="en-US" sz="1600" cap="all" dirty="0">
                <a:solidFill>
                  <a:sysClr val="windowText" lastClr="000000"/>
                </a:solidFill>
                <a:latin typeface="Arial" panose="020B0604020202020204" pitchFamily="34" charset="0"/>
                <a:cs typeface="Arial" panose="020B0604020202020204" pitchFamily="34" charset="0"/>
              </a:endParaRPr>
            </a:p>
          </p:txBody>
        </p:sp>
        <p:sp>
          <p:nvSpPr>
            <p:cNvPr id="71" name="TextBox 70">
              <a:extLst>
                <a:ext uri="{FF2B5EF4-FFF2-40B4-BE49-F238E27FC236}">
                  <a16:creationId xmlns:a16="http://schemas.microsoft.com/office/drawing/2014/main" id="{38556937-2D3B-4151-B2D9-D4B7177B52F3}"/>
                </a:ext>
              </a:extLst>
            </p:cNvPr>
            <p:cNvSpPr txBox="1"/>
            <p:nvPr/>
          </p:nvSpPr>
          <p:spPr>
            <a:xfrm>
              <a:off x="405477" y="1612393"/>
              <a:ext cx="2745629" cy="2068259"/>
            </a:xfrm>
            <a:prstGeom prst="rect">
              <a:avLst/>
            </a:prstGeom>
            <a:noFill/>
          </p:spPr>
          <p:txBody>
            <a:bodyPr wrap="square" lIns="0" tIns="36576" rIns="0" bIns="0" rtlCol="0">
              <a:spAutoFit/>
            </a:bodyPr>
            <a:lstStyle/>
            <a:p>
              <a:r>
                <a:rPr lang="pt-BR" sz="1200" dirty="0">
                  <a:solidFill>
                    <a:schemeClr val="bg2"/>
                  </a:solidFill>
                  <a:latin typeface="Arial" panose="020B0604020202020204" pitchFamily="34" charset="0"/>
                  <a:cs typeface="Arial" panose="020B0604020202020204" pitchFamily="34" charset="0"/>
                </a:rPr>
                <a:t>Estabelecer métricas de desempenho em termos quantitativos e qualitativos</a:t>
              </a:r>
            </a:p>
            <a:p>
              <a:r>
                <a:rPr lang="pt-BR" sz="1200" dirty="0">
                  <a:solidFill>
                    <a:schemeClr val="bg2"/>
                  </a:solidFill>
                  <a:latin typeface="Arial" panose="020B0604020202020204" pitchFamily="34" charset="0"/>
                  <a:cs typeface="Arial" panose="020B0604020202020204" pitchFamily="34" charset="0"/>
                </a:rPr>
                <a:t>para medir e avaliar o modelo operacional</a:t>
              </a:r>
            </a:p>
            <a:p>
              <a:endParaRPr lang="pt-BR" sz="1200" dirty="0">
                <a:solidFill>
                  <a:schemeClr val="bg2"/>
                </a:solidFill>
                <a:latin typeface="Arial" panose="020B0604020202020204" pitchFamily="34" charset="0"/>
                <a:cs typeface="Arial" panose="020B0604020202020204" pitchFamily="34" charset="0"/>
              </a:endParaRPr>
            </a:p>
            <a:p>
              <a:pPr marL="228600" indent="-228600">
                <a:buFont typeface="+mj-lt"/>
                <a:buAutoNum type="arabicPeriod"/>
              </a:pPr>
              <a:r>
                <a:rPr lang="pt-BR" sz="1200" dirty="0">
                  <a:solidFill>
                    <a:schemeClr val="bg2"/>
                  </a:solidFill>
                  <a:latin typeface="Arial" panose="020B0604020202020204" pitchFamily="34" charset="0"/>
                  <a:cs typeface="Arial" panose="020B0604020202020204" pitchFamily="34" charset="0"/>
                </a:rPr>
                <a:t>Define os atributos qualitativos e quantitativos que os indicadores mediriam</a:t>
              </a:r>
            </a:p>
            <a:p>
              <a:pPr marL="228600" indent="-228600">
                <a:buFont typeface="+mj-lt"/>
                <a:buAutoNum type="arabicPeriod"/>
              </a:pPr>
              <a:r>
                <a:rPr lang="pt-BR" sz="1200" dirty="0">
                  <a:solidFill>
                    <a:schemeClr val="bg2"/>
                  </a:solidFill>
                  <a:latin typeface="Arial" panose="020B0604020202020204" pitchFamily="34" charset="0"/>
                  <a:cs typeface="Arial" panose="020B0604020202020204" pitchFamily="34" charset="0"/>
                </a:rPr>
                <a:t>Definir 2 indicadores para medir suas iniciativas (É importante decidir a </a:t>
              </a:r>
              <a:r>
                <a:rPr lang="pt-BR" sz="1200" dirty="0" err="1">
                  <a:solidFill>
                    <a:schemeClr val="bg2"/>
                  </a:solidFill>
                  <a:latin typeface="Arial" panose="020B0604020202020204" pitchFamily="34" charset="0"/>
                  <a:cs typeface="Arial" panose="020B0604020202020204" pitchFamily="34" charset="0"/>
                </a:rPr>
                <a:t>freqüência</a:t>
              </a:r>
              <a:r>
                <a:rPr lang="pt-BR" sz="1200" dirty="0">
                  <a:solidFill>
                    <a:schemeClr val="bg2"/>
                  </a:solidFill>
                  <a:latin typeface="Arial" panose="020B0604020202020204" pitchFamily="34" charset="0"/>
                  <a:cs typeface="Arial" panose="020B0604020202020204" pitchFamily="34" charset="0"/>
                </a:rPr>
                <a:t>, as ferramentas e os objetivos de cada indicador)</a:t>
              </a:r>
            </a:p>
          </p:txBody>
        </p:sp>
      </p:grpSp>
      <p:grpSp>
        <p:nvGrpSpPr>
          <p:cNvPr id="4" name="Group 3">
            <a:extLst>
              <a:ext uri="{FF2B5EF4-FFF2-40B4-BE49-F238E27FC236}">
                <a16:creationId xmlns:a16="http://schemas.microsoft.com/office/drawing/2014/main" id="{BA4CF336-FA60-4B74-9048-1D8808F06B96}"/>
              </a:ext>
            </a:extLst>
          </p:cNvPr>
          <p:cNvGrpSpPr/>
          <p:nvPr/>
        </p:nvGrpSpPr>
        <p:grpSpPr>
          <a:xfrm>
            <a:off x="4967414" y="3934309"/>
            <a:ext cx="3629197" cy="2659172"/>
            <a:chOff x="336133" y="3946856"/>
            <a:chExt cx="2902706" cy="2659172"/>
          </a:xfrm>
        </p:grpSpPr>
        <p:sp>
          <p:nvSpPr>
            <p:cNvPr id="70" name="Rectangle 69">
              <a:extLst>
                <a:ext uri="{FF2B5EF4-FFF2-40B4-BE49-F238E27FC236}">
                  <a16:creationId xmlns:a16="http://schemas.microsoft.com/office/drawing/2014/main" id="{DAE71F83-9F04-4C4E-B16E-969DF16125E8}"/>
                </a:ext>
              </a:extLst>
            </p:cNvPr>
            <p:cNvSpPr/>
            <p:nvPr/>
          </p:nvSpPr>
          <p:spPr>
            <a:xfrm>
              <a:off x="336133" y="3946856"/>
              <a:ext cx="2902706" cy="2659172"/>
            </a:xfrm>
            <a:prstGeom prst="rect">
              <a:avLst/>
            </a:prstGeom>
            <a:solidFill>
              <a:srgbClr val="FFD9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dirty="0">
                  <a:solidFill>
                    <a:sysClr val="windowText" lastClr="000000"/>
                  </a:solidFill>
                  <a:latin typeface="Arial" panose="020B0604020202020204" pitchFamily="34" charset="0"/>
                  <a:cs typeface="Arial" panose="020B0604020202020204" pitchFamily="34" charset="0"/>
                </a:rPr>
                <a:t>4. </a:t>
              </a:r>
              <a:r>
                <a:rPr lang="pt-BR" sz="1600" b="1" cap="all" dirty="0">
                  <a:solidFill>
                    <a:sysClr val="windowText" lastClr="000000"/>
                  </a:solidFill>
                  <a:latin typeface="Arial" panose="020B0604020202020204" pitchFamily="34" charset="0"/>
                  <a:cs typeface="Arial" panose="020B0604020202020204" pitchFamily="34" charset="0"/>
                </a:rPr>
                <a:t>Dados e Tecnologia</a:t>
              </a:r>
            </a:p>
            <a:p>
              <a:endParaRPr lang="es-CO" sz="1600" b="1" cap="all" dirty="0">
                <a:solidFill>
                  <a:sysClr val="windowText" lastClr="000000"/>
                </a:solidFill>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EAED0996-E726-4806-A44B-EAFD7E03AD78}"/>
                </a:ext>
              </a:extLst>
            </p:cNvPr>
            <p:cNvSpPr txBox="1"/>
            <p:nvPr/>
          </p:nvSpPr>
          <p:spPr>
            <a:xfrm>
              <a:off x="400413" y="4310488"/>
              <a:ext cx="2750837" cy="2252924"/>
            </a:xfrm>
            <a:prstGeom prst="rect">
              <a:avLst/>
            </a:prstGeom>
            <a:noFill/>
          </p:spPr>
          <p:txBody>
            <a:bodyPr wrap="square" lIns="0" tIns="36576" rIns="0" bIns="0" rtlCol="0">
              <a:spAutoFit/>
            </a:bodyPr>
            <a:lstStyle/>
            <a:p>
              <a:r>
                <a:rPr lang="pt-BR" sz="1200" dirty="0">
                  <a:solidFill>
                    <a:sysClr val="windowText" lastClr="000000"/>
                  </a:solidFill>
                  <a:latin typeface="Arial" panose="020B0604020202020204" pitchFamily="34" charset="0"/>
                  <a:cs typeface="Arial" panose="020B0604020202020204" pitchFamily="34" charset="0"/>
                </a:rPr>
                <a:t>Você já tem processos claros e pessoas, a tecnologia está faltando</a:t>
              </a:r>
            </a:p>
            <a:p>
              <a:pPr marL="228600" indent="-228600">
                <a:buFont typeface="+mj-lt"/>
                <a:buAutoNum type="arabicPeriod"/>
              </a:pPr>
              <a:r>
                <a:rPr lang="pt-BR" sz="1200" dirty="0">
                  <a:solidFill>
                    <a:sysClr val="windowText" lastClr="000000"/>
                  </a:solidFill>
                  <a:latin typeface="Arial" panose="020B0604020202020204" pitchFamily="34" charset="0"/>
                  <a:cs typeface="Arial" panose="020B0604020202020204" pitchFamily="34" charset="0"/>
                </a:rPr>
                <a:t>Definir quais são os dados e informações mais relevantes para gerenciar seu processo operacional selecionado?</a:t>
              </a:r>
            </a:p>
            <a:p>
              <a:pPr marL="228600" indent="-228600">
                <a:buFont typeface="+mj-lt"/>
                <a:buAutoNum type="arabicPeriod"/>
              </a:pPr>
              <a:r>
                <a:rPr lang="pt-BR" sz="1200" dirty="0">
                  <a:solidFill>
                    <a:sysClr val="windowText" lastClr="000000"/>
                  </a:solidFill>
                  <a:latin typeface="Arial" panose="020B0604020202020204" pitchFamily="34" charset="0"/>
                  <a:cs typeface="Arial" panose="020B0604020202020204" pitchFamily="34" charset="0"/>
                </a:rPr>
                <a:t>Descrever a função e os benefícios das ferramentas que gerenciam esses dados? Neste ponto, você pode descrever uma ferramenta que você já possui ou que gostaria de adquirir, em qualquer caso, deve estar claro como esta ferramenta permite o gerenciamento dos dados do processo selecionado.</a:t>
              </a:r>
            </a:p>
          </p:txBody>
        </p:sp>
      </p:grpSp>
      <p:pic>
        <p:nvPicPr>
          <p:cNvPr id="1026" name="Picture 2">
            <a:extLst>
              <a:ext uri="{FF2B5EF4-FFF2-40B4-BE49-F238E27FC236}">
                <a16:creationId xmlns:a16="http://schemas.microsoft.com/office/drawing/2014/main" id="{EF88313E-4192-4991-95CF-6B1406DE35AE}"/>
              </a:ext>
            </a:extLst>
          </p:cNvPr>
          <p:cNvPicPr>
            <a:picLocks noChangeAspect="1" noChangeArrowheads="1"/>
          </p:cNvPicPr>
          <p:nvPr/>
        </p:nvPicPr>
        <p:blipFill>
          <a:blip r:embed="rId3">
            <a:duotone>
              <a:prstClr val="black"/>
              <a:schemeClr val="accent4">
                <a:tint val="45000"/>
                <a:satMod val="400000"/>
              </a:schemeClr>
            </a:duotone>
            <a:extLst>
              <a:ext uri="{BEBA8EAE-BF5A-486C-A8C5-ECC9F3942E4B}">
                <a14:imgProps xmlns:a14="http://schemas.microsoft.com/office/drawing/2010/main">
                  <a14:imgLayer r:embed="rId4">
                    <a14:imgEffect>
                      <a14:colorTemperature colorTemp="4700"/>
                    </a14:imgEffect>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8487100" y="1852917"/>
            <a:ext cx="610455" cy="61045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a:extLst>
              <a:ext uri="{FF2B5EF4-FFF2-40B4-BE49-F238E27FC236}">
                <a16:creationId xmlns:a16="http://schemas.microsoft.com/office/drawing/2014/main" id="{D1881172-ECF8-4150-8E81-0A7C0DD7D5A0}"/>
              </a:ext>
            </a:extLst>
          </p:cNvPr>
          <p:cNvPicPr>
            <a:picLocks noChangeAspect="1" noChangeArrowheads="1"/>
          </p:cNvPicPr>
          <p:nvPr/>
        </p:nvPicPr>
        <p:blipFill>
          <a:blip r:embed="rId3">
            <a:duotone>
              <a:prstClr val="black"/>
              <a:schemeClr val="accent4">
                <a:tint val="45000"/>
                <a:satMod val="400000"/>
              </a:schemeClr>
            </a:duotone>
            <a:extLst>
              <a:ext uri="{BEBA8EAE-BF5A-486C-A8C5-ECC9F3942E4B}">
                <a14:imgProps xmlns:a14="http://schemas.microsoft.com/office/drawing/2010/main">
                  <a14:imgLayer r:embed="rId4">
                    <a14:imgEffect>
                      <a14:colorTemperature colorTemp="4700"/>
                    </a14:imgEffect>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4358228" y="4983761"/>
            <a:ext cx="610455" cy="61045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a:extLst>
              <a:ext uri="{FF2B5EF4-FFF2-40B4-BE49-F238E27FC236}">
                <a16:creationId xmlns:a16="http://schemas.microsoft.com/office/drawing/2014/main" id="{83EAEECA-7911-4664-8D82-FFA9DFF4F6F0}"/>
              </a:ext>
            </a:extLst>
          </p:cNvPr>
          <p:cNvPicPr>
            <a:picLocks noChangeAspect="1" noChangeArrowheads="1"/>
          </p:cNvPicPr>
          <p:nvPr/>
        </p:nvPicPr>
        <p:blipFill>
          <a:blip r:embed="rId3">
            <a:duotone>
              <a:prstClr val="black"/>
              <a:schemeClr val="accent4">
                <a:tint val="45000"/>
                <a:satMod val="400000"/>
              </a:schemeClr>
            </a:duotone>
            <a:extLst>
              <a:ext uri="{BEBA8EAE-BF5A-486C-A8C5-ECC9F3942E4B}">
                <a14:imgProps xmlns:a14="http://schemas.microsoft.com/office/drawing/2010/main">
                  <a14:imgLayer r:embed="rId4">
                    <a14:imgEffect>
                      <a14:colorTemperature colorTemp="4700"/>
                    </a14:imgEffect>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8143845" y="4983761"/>
            <a:ext cx="610455" cy="61045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FD0B59FE-34B3-4898-9D76-1CCF6C5FABF5}"/>
              </a:ext>
            </a:extLst>
          </p:cNvPr>
          <p:cNvGrpSpPr/>
          <p:nvPr/>
        </p:nvGrpSpPr>
        <p:grpSpPr>
          <a:xfrm>
            <a:off x="734280" y="296798"/>
            <a:ext cx="3826249" cy="2776602"/>
            <a:chOff x="332530" y="296798"/>
            <a:chExt cx="4227999" cy="2582085"/>
          </a:xfrm>
        </p:grpSpPr>
        <p:sp>
          <p:nvSpPr>
            <p:cNvPr id="51" name="Rectangle: Rounded Corners 50">
              <a:extLst>
                <a:ext uri="{FF2B5EF4-FFF2-40B4-BE49-F238E27FC236}">
                  <a16:creationId xmlns:a16="http://schemas.microsoft.com/office/drawing/2014/main" id="{761E16A8-2197-4EF1-9759-E32402BBAAB2}"/>
                </a:ext>
              </a:extLst>
            </p:cNvPr>
            <p:cNvSpPr/>
            <p:nvPr/>
          </p:nvSpPr>
          <p:spPr>
            <a:xfrm>
              <a:off x="332530" y="296798"/>
              <a:ext cx="4227999" cy="2582085"/>
            </a:xfrm>
            <a:prstGeom prst="roundRect">
              <a:avLst>
                <a:gd name="adj" fmla="val 9781"/>
              </a:avLst>
            </a:prstGeom>
            <a:solidFill>
              <a:schemeClr val="bg2"/>
            </a:solidFill>
            <a:ln w="19050">
              <a:solidFill>
                <a:schemeClr val="bg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s-CO" sz="1600" b="1" cap="all" dirty="0" err="1">
                  <a:solidFill>
                    <a:schemeClr val="bg1"/>
                  </a:solidFill>
                  <a:latin typeface="Arial" panose="020B0604020202020204" pitchFamily="34" charset="0"/>
                  <a:cs typeface="Arial" panose="020B0604020202020204" pitchFamily="34" charset="0"/>
                </a:rPr>
                <a:t>Processo</a:t>
              </a:r>
              <a:r>
                <a:rPr lang="es-CO" sz="1600" b="1" cap="all" dirty="0">
                  <a:solidFill>
                    <a:schemeClr val="bg1"/>
                  </a:solidFill>
                  <a:latin typeface="Arial" panose="020B0604020202020204" pitchFamily="34" charset="0"/>
                  <a:cs typeface="Arial" panose="020B0604020202020204" pitchFamily="34" charset="0"/>
                </a:rPr>
                <a:t>: </a:t>
              </a:r>
            </a:p>
            <a:p>
              <a:endParaRPr lang="en-US" sz="1600" cap="all" dirty="0">
                <a:solidFill>
                  <a:sysClr val="windowText" lastClr="000000"/>
                </a:solidFill>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F65A41A8-486C-49E1-A1BE-F0D6BC7A3152}"/>
                </a:ext>
              </a:extLst>
            </p:cNvPr>
            <p:cNvSpPr txBox="1"/>
            <p:nvPr/>
          </p:nvSpPr>
          <p:spPr>
            <a:xfrm>
              <a:off x="555871" y="696585"/>
              <a:ext cx="3882612" cy="199635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pt-BR" sz="1400" b="1" dirty="0">
                  <a:solidFill>
                    <a:schemeClr val="bg1"/>
                  </a:solidFill>
                  <a:latin typeface="Arial" panose="020B0604020202020204" pitchFamily="34" charset="0"/>
                  <a:cs typeface="Arial" panose="020B0604020202020204" pitchFamily="34" charset="0"/>
                </a:rPr>
                <a:t>Exemplo: </a:t>
              </a:r>
            </a:p>
            <a:p>
              <a:pPr marL="285750" indent="-285750">
                <a:lnSpc>
                  <a:spcPct val="85000"/>
                </a:lnSpc>
                <a:spcAft>
                  <a:spcPts val="600"/>
                </a:spcAft>
                <a:buClr>
                  <a:schemeClr val="accent2"/>
                </a:buClr>
                <a:buSzPct val="70000"/>
                <a:buFont typeface="Arial" panose="020B0604020202020204" pitchFamily="34" charset="0"/>
                <a:buChar char="•"/>
              </a:pPr>
              <a:r>
                <a:rPr lang="pt-BR" sz="1400" dirty="0">
                  <a:solidFill>
                    <a:schemeClr val="bg1"/>
                  </a:solidFill>
                  <a:latin typeface="Arial" panose="020B0604020202020204" pitchFamily="34" charset="0"/>
                  <a:cs typeface="Arial" panose="020B0604020202020204" pitchFamily="34" charset="0"/>
                </a:rPr>
                <a:t>Vendas</a:t>
              </a:r>
            </a:p>
            <a:p>
              <a:pPr marL="285750" indent="-285750">
                <a:lnSpc>
                  <a:spcPct val="85000"/>
                </a:lnSpc>
                <a:spcAft>
                  <a:spcPts val="600"/>
                </a:spcAft>
                <a:buClr>
                  <a:schemeClr val="accent2"/>
                </a:buClr>
                <a:buSzPct val="70000"/>
                <a:buFont typeface="Arial" panose="020B0604020202020204" pitchFamily="34" charset="0"/>
                <a:buChar char="•"/>
              </a:pPr>
              <a:r>
                <a:rPr lang="pt-BR" sz="1400" dirty="0">
                  <a:solidFill>
                    <a:schemeClr val="bg1"/>
                  </a:solidFill>
                  <a:latin typeface="Arial" panose="020B0604020202020204" pitchFamily="34" charset="0"/>
                  <a:cs typeface="Arial" panose="020B0604020202020204" pitchFamily="34" charset="0"/>
                </a:rPr>
                <a:t>Compras</a:t>
              </a:r>
            </a:p>
            <a:p>
              <a:pPr marL="285750" indent="-285750">
                <a:lnSpc>
                  <a:spcPct val="85000"/>
                </a:lnSpc>
                <a:spcAft>
                  <a:spcPts val="600"/>
                </a:spcAft>
                <a:buClr>
                  <a:schemeClr val="accent2"/>
                </a:buClr>
                <a:buSzPct val="70000"/>
                <a:buFont typeface="Arial" panose="020B0604020202020204" pitchFamily="34" charset="0"/>
                <a:buChar char="•"/>
              </a:pPr>
              <a:r>
                <a:rPr lang="pt-BR" sz="1400" dirty="0">
                  <a:solidFill>
                    <a:schemeClr val="bg1"/>
                  </a:solidFill>
                  <a:latin typeface="Arial" panose="020B0604020202020204" pitchFamily="34" charset="0"/>
                  <a:cs typeface="Arial" panose="020B0604020202020204" pitchFamily="34" charset="0"/>
                </a:rPr>
                <a:t>Produção</a:t>
              </a:r>
            </a:p>
            <a:p>
              <a:pPr marL="285750" indent="-285750">
                <a:lnSpc>
                  <a:spcPct val="85000"/>
                </a:lnSpc>
                <a:spcAft>
                  <a:spcPts val="600"/>
                </a:spcAft>
                <a:buClr>
                  <a:schemeClr val="accent2"/>
                </a:buClr>
                <a:buSzPct val="70000"/>
                <a:buFont typeface="Arial" panose="020B0604020202020204" pitchFamily="34" charset="0"/>
                <a:buChar char="•"/>
              </a:pPr>
              <a:r>
                <a:rPr lang="pt-BR" sz="1400" dirty="0">
                  <a:solidFill>
                    <a:schemeClr val="bg1"/>
                  </a:solidFill>
                  <a:latin typeface="Arial" panose="020B0604020202020204" pitchFamily="34" charset="0"/>
                  <a:cs typeface="Arial" panose="020B0604020202020204" pitchFamily="34" charset="0"/>
                </a:rPr>
                <a:t>Logística</a:t>
              </a:r>
            </a:p>
            <a:p>
              <a:pPr marL="285750" indent="-285750">
                <a:lnSpc>
                  <a:spcPct val="85000"/>
                </a:lnSpc>
                <a:spcAft>
                  <a:spcPts val="600"/>
                </a:spcAft>
                <a:buClr>
                  <a:schemeClr val="accent2"/>
                </a:buClr>
                <a:buSzPct val="70000"/>
                <a:buFont typeface="Arial" panose="020B0604020202020204" pitchFamily="34" charset="0"/>
                <a:buChar char="•"/>
              </a:pPr>
              <a:r>
                <a:rPr lang="pt-BR" sz="1400" dirty="0">
                  <a:solidFill>
                    <a:schemeClr val="bg1"/>
                  </a:solidFill>
                  <a:latin typeface="Arial" panose="020B0604020202020204" pitchFamily="34" charset="0"/>
                  <a:cs typeface="Arial" panose="020B0604020202020204" pitchFamily="34" charset="0"/>
                </a:rPr>
                <a:t>Marketing</a:t>
              </a:r>
            </a:p>
            <a:p>
              <a:pPr>
                <a:lnSpc>
                  <a:spcPct val="85000"/>
                </a:lnSpc>
                <a:spcAft>
                  <a:spcPts val="600"/>
                </a:spcAft>
                <a:buClr>
                  <a:schemeClr val="accent2"/>
                </a:buClr>
                <a:buSzPct val="70000"/>
              </a:pPr>
              <a:r>
                <a:rPr lang="pt-BR" sz="1400" dirty="0">
                  <a:solidFill>
                    <a:schemeClr val="bg1"/>
                  </a:solidFill>
                  <a:latin typeface="Arial" panose="020B0604020202020204" pitchFamily="34" charset="0"/>
                  <a:cs typeface="Arial" panose="020B0604020202020204" pitchFamily="34" charset="0"/>
                </a:rPr>
                <a:t>Para este exercício, você pode escolher qualquer um dos processos que você já identificou em sua cadeia de valor produtiva.</a:t>
              </a:r>
            </a:p>
          </p:txBody>
        </p:sp>
      </p:grpSp>
    </p:spTree>
    <p:extLst>
      <p:ext uri="{BB962C8B-B14F-4D97-AF65-F5344CB8AC3E}">
        <p14:creationId xmlns:p14="http://schemas.microsoft.com/office/powerpoint/2010/main" val="2025986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422A93F6-EA38-4E0A-B73A-64A31DA215B7}"/>
              </a:ext>
            </a:extLst>
          </p:cNvPr>
          <p:cNvSpPr/>
          <p:nvPr/>
        </p:nvSpPr>
        <p:spPr>
          <a:xfrm>
            <a:off x="4016143" y="167071"/>
            <a:ext cx="3824914" cy="1370773"/>
          </a:xfrm>
          <a:prstGeom prst="rect">
            <a:avLst/>
          </a:prstGeom>
          <a:solidFill>
            <a:srgbClr val="EA3A5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pt-BR" sz="1600" b="1" cap="all" dirty="0">
                <a:solidFill>
                  <a:sysClr val="windowText" lastClr="000000"/>
                </a:solidFill>
                <a:latin typeface="Arial" panose="020B0604020202020204" pitchFamily="34" charset="0"/>
                <a:cs typeface="Arial" panose="020B0604020202020204" pitchFamily="34" charset="0"/>
              </a:rPr>
              <a:t>Estratégia operacional</a:t>
            </a:r>
          </a:p>
          <a:p>
            <a:endParaRPr lang="pt-BR" sz="1600" dirty="0">
              <a:solidFill>
                <a:sysClr val="windowText" lastClr="000000"/>
              </a:solidFill>
              <a:latin typeface="Arial" panose="020B0604020202020204" pitchFamily="34" charset="0"/>
              <a:cs typeface="Arial" panose="020B0604020202020204" pitchFamily="34" charset="0"/>
            </a:endParaRPr>
          </a:p>
        </p:txBody>
      </p:sp>
      <p:sp>
        <p:nvSpPr>
          <p:cNvPr id="61" name="Rectangle 60">
            <a:extLst>
              <a:ext uri="{FF2B5EF4-FFF2-40B4-BE49-F238E27FC236}">
                <a16:creationId xmlns:a16="http://schemas.microsoft.com/office/drawing/2014/main" id="{C9C36564-731C-4B86-BEBD-F18FEC8B3262}"/>
              </a:ext>
            </a:extLst>
          </p:cNvPr>
          <p:cNvSpPr/>
          <p:nvPr/>
        </p:nvSpPr>
        <p:spPr>
          <a:xfrm>
            <a:off x="8154234" y="1084129"/>
            <a:ext cx="2912609" cy="2659172"/>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pt-BR" sz="1600" b="1" cap="all" dirty="0">
                <a:solidFill>
                  <a:sysClr val="windowText" lastClr="000000"/>
                </a:solidFill>
                <a:latin typeface="Arial" panose="020B0604020202020204" pitchFamily="34" charset="0"/>
                <a:cs typeface="Arial" panose="020B0604020202020204" pitchFamily="34" charset="0"/>
              </a:rPr>
              <a:t>Estrutura do </a:t>
            </a:r>
            <a:br>
              <a:rPr lang="pt-BR" sz="1600" b="1" cap="all" dirty="0">
                <a:solidFill>
                  <a:sysClr val="windowText" lastClr="000000"/>
                </a:solidFill>
                <a:latin typeface="Arial" panose="020B0604020202020204" pitchFamily="34" charset="0"/>
                <a:cs typeface="Arial" panose="020B0604020202020204" pitchFamily="34" charset="0"/>
              </a:rPr>
            </a:br>
            <a:r>
              <a:rPr lang="pt-BR" sz="1600" b="1" cap="all" dirty="0">
                <a:solidFill>
                  <a:sysClr val="windowText" lastClr="000000"/>
                </a:solidFill>
                <a:latin typeface="Arial" panose="020B0604020202020204" pitchFamily="34" charset="0"/>
                <a:cs typeface="Arial" panose="020B0604020202020204" pitchFamily="34" charset="0"/>
              </a:rPr>
              <a:t>negócio</a:t>
            </a:r>
          </a:p>
          <a:p>
            <a:endParaRPr lang="pt-BR" sz="1600" cap="all" dirty="0">
              <a:solidFill>
                <a:sysClr val="windowText" lastClr="000000"/>
              </a:solidFill>
              <a:latin typeface="Arial" panose="020B0604020202020204" pitchFamily="34" charset="0"/>
              <a:cs typeface="Arial" panose="020B0604020202020204" pitchFamily="34" charset="0"/>
            </a:endParaRPr>
          </a:p>
        </p:txBody>
      </p:sp>
      <p:sp>
        <p:nvSpPr>
          <p:cNvPr id="63" name="Rectangle 62">
            <a:extLst>
              <a:ext uri="{FF2B5EF4-FFF2-40B4-BE49-F238E27FC236}">
                <a16:creationId xmlns:a16="http://schemas.microsoft.com/office/drawing/2014/main" id="{826F8B44-A45F-4921-BA1C-BB16C2ACBC8D}"/>
              </a:ext>
            </a:extLst>
          </p:cNvPr>
          <p:cNvSpPr/>
          <p:nvPr/>
        </p:nvSpPr>
        <p:spPr>
          <a:xfrm>
            <a:off x="8185744" y="3968543"/>
            <a:ext cx="2902706" cy="2659172"/>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pt-BR" sz="1600" b="1" cap="all" dirty="0">
                <a:solidFill>
                  <a:sysClr val="windowText" lastClr="000000"/>
                </a:solidFill>
                <a:latin typeface="Arial" panose="020B0604020202020204" pitchFamily="34" charset="0"/>
                <a:cs typeface="Arial" panose="020B0604020202020204" pitchFamily="34" charset="0"/>
              </a:rPr>
              <a:t>Pessoas e Organização</a:t>
            </a:r>
          </a:p>
        </p:txBody>
      </p:sp>
      <p:sp>
        <p:nvSpPr>
          <p:cNvPr id="69" name="Rectangle 68">
            <a:extLst>
              <a:ext uri="{FF2B5EF4-FFF2-40B4-BE49-F238E27FC236}">
                <a16:creationId xmlns:a16="http://schemas.microsoft.com/office/drawing/2014/main" id="{391E7FE5-F827-43AB-AF69-B560CA81E82C}"/>
              </a:ext>
            </a:extLst>
          </p:cNvPr>
          <p:cNvSpPr/>
          <p:nvPr/>
        </p:nvSpPr>
        <p:spPr>
          <a:xfrm>
            <a:off x="336133" y="1064096"/>
            <a:ext cx="2912609" cy="2659172"/>
          </a:xfrm>
          <a:prstGeom prst="rect">
            <a:avLst/>
          </a:prstGeom>
          <a:solidFill>
            <a:srgbClr val="D4BF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pt-BR" sz="1600" b="1" cap="all" dirty="0">
                <a:solidFill>
                  <a:sysClr val="windowText" lastClr="000000"/>
                </a:solidFill>
                <a:latin typeface="Arial" panose="020B0604020202020204" pitchFamily="34" charset="0"/>
                <a:cs typeface="Arial" panose="020B0604020202020204" pitchFamily="34" charset="0"/>
              </a:rPr>
              <a:t>Desempenho do </a:t>
            </a:r>
            <a:br>
              <a:rPr lang="pt-BR" sz="1600" b="1" cap="all" dirty="0">
                <a:solidFill>
                  <a:sysClr val="windowText" lastClr="000000"/>
                </a:solidFill>
                <a:latin typeface="Arial" panose="020B0604020202020204" pitchFamily="34" charset="0"/>
                <a:cs typeface="Arial" panose="020B0604020202020204" pitchFamily="34" charset="0"/>
              </a:rPr>
            </a:br>
            <a:r>
              <a:rPr lang="pt-BR" sz="1600" b="1" cap="all" dirty="0">
                <a:solidFill>
                  <a:sysClr val="windowText" lastClr="000000"/>
                </a:solidFill>
                <a:latin typeface="Arial" panose="020B0604020202020204" pitchFamily="34" charset="0"/>
                <a:cs typeface="Arial" panose="020B0604020202020204" pitchFamily="34" charset="0"/>
              </a:rPr>
              <a:t>Rendimento</a:t>
            </a:r>
          </a:p>
        </p:txBody>
      </p:sp>
      <p:sp>
        <p:nvSpPr>
          <p:cNvPr id="70" name="Rectangle 69">
            <a:extLst>
              <a:ext uri="{FF2B5EF4-FFF2-40B4-BE49-F238E27FC236}">
                <a16:creationId xmlns:a16="http://schemas.microsoft.com/office/drawing/2014/main" id="{DAE71F83-9F04-4C4E-B16E-969DF16125E8}"/>
              </a:ext>
            </a:extLst>
          </p:cNvPr>
          <p:cNvSpPr/>
          <p:nvPr/>
        </p:nvSpPr>
        <p:spPr>
          <a:xfrm>
            <a:off x="336133" y="3946856"/>
            <a:ext cx="2902706" cy="2659172"/>
          </a:xfrm>
          <a:prstGeom prst="rect">
            <a:avLst/>
          </a:prstGeom>
          <a:solidFill>
            <a:srgbClr val="FFD9D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pt-BR" sz="1600" b="1" cap="all" dirty="0">
                <a:solidFill>
                  <a:sysClr val="windowText" lastClr="000000"/>
                </a:solidFill>
                <a:latin typeface="Arial" panose="020B0604020202020204" pitchFamily="34" charset="0"/>
                <a:cs typeface="Arial" panose="020B0604020202020204" pitchFamily="34" charset="0"/>
              </a:rPr>
              <a:t>Dados e </a:t>
            </a:r>
            <a:br>
              <a:rPr lang="pt-BR" sz="1600" b="1" cap="all" dirty="0">
                <a:solidFill>
                  <a:sysClr val="windowText" lastClr="000000"/>
                </a:solidFill>
                <a:latin typeface="Arial" panose="020B0604020202020204" pitchFamily="34" charset="0"/>
                <a:cs typeface="Arial" panose="020B0604020202020204" pitchFamily="34" charset="0"/>
              </a:rPr>
            </a:br>
            <a:r>
              <a:rPr lang="pt-BR" sz="1600" b="1" cap="all" dirty="0">
                <a:solidFill>
                  <a:sysClr val="windowText" lastClr="000000"/>
                </a:solidFill>
                <a:latin typeface="Arial" panose="020B0604020202020204" pitchFamily="34" charset="0"/>
                <a:cs typeface="Arial" panose="020B0604020202020204" pitchFamily="34" charset="0"/>
              </a:rPr>
              <a:t>Tecnologia</a:t>
            </a:r>
          </a:p>
        </p:txBody>
      </p:sp>
      <p:sp>
        <p:nvSpPr>
          <p:cNvPr id="49" name="Rectangle 48">
            <a:extLst>
              <a:ext uri="{FF2B5EF4-FFF2-40B4-BE49-F238E27FC236}">
                <a16:creationId xmlns:a16="http://schemas.microsoft.com/office/drawing/2014/main" id="{7F9A2BDE-C0F8-4DA6-BAE0-73F19E40B1B8}"/>
              </a:ext>
            </a:extLst>
          </p:cNvPr>
          <p:cNvSpPr/>
          <p:nvPr/>
        </p:nvSpPr>
        <p:spPr>
          <a:xfrm>
            <a:off x="336133" y="164626"/>
            <a:ext cx="2912609" cy="590900"/>
          </a:xfrm>
          <a:prstGeom prst="rect">
            <a:avLst/>
          </a:prstGeom>
          <a:solidFill>
            <a:srgbClr val="D4BF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pt-BR" sz="1600" b="1" cap="all">
                <a:solidFill>
                  <a:sysClr val="windowText" lastClr="000000"/>
                </a:solidFill>
                <a:latin typeface="Arial" panose="020B0604020202020204" pitchFamily="34" charset="0"/>
                <a:cs typeface="Arial" panose="020B0604020202020204" pitchFamily="34" charset="0"/>
              </a:rPr>
              <a:t>ProcesSo: </a:t>
            </a:r>
          </a:p>
          <a:p>
            <a:endParaRPr lang="pt-BR" sz="1600" cap="all">
              <a:solidFill>
                <a:sysClr val="windowText" lastClr="000000"/>
              </a:solidFill>
              <a:latin typeface="Arial" panose="020B0604020202020204" pitchFamily="34" charset="0"/>
              <a:cs typeface="Arial" panose="020B0604020202020204" pitchFamily="34" charset="0"/>
            </a:endParaRPr>
          </a:p>
        </p:txBody>
      </p:sp>
      <p:grpSp>
        <p:nvGrpSpPr>
          <p:cNvPr id="75" name="Group 74">
            <a:extLst>
              <a:ext uri="{FF2B5EF4-FFF2-40B4-BE49-F238E27FC236}">
                <a16:creationId xmlns:a16="http://schemas.microsoft.com/office/drawing/2014/main" id="{AA9A6FDB-AFF2-4D0B-BC3E-9ABF62D5962A}"/>
              </a:ext>
            </a:extLst>
          </p:cNvPr>
          <p:cNvGrpSpPr/>
          <p:nvPr/>
        </p:nvGrpSpPr>
        <p:grpSpPr>
          <a:xfrm>
            <a:off x="3491351" y="1782891"/>
            <a:ext cx="4323525" cy="4622328"/>
            <a:chOff x="7062474" y="661721"/>
            <a:chExt cx="4311644" cy="4320000"/>
          </a:xfrm>
        </p:grpSpPr>
        <p:sp>
          <p:nvSpPr>
            <p:cNvPr id="76" name="Freeform 232">
              <a:extLst>
                <a:ext uri="{FF2B5EF4-FFF2-40B4-BE49-F238E27FC236}">
                  <a16:creationId xmlns:a16="http://schemas.microsoft.com/office/drawing/2014/main" id="{2EBA408D-1193-43A8-9BCB-FD209D3C6778}"/>
                </a:ext>
              </a:extLst>
            </p:cNvPr>
            <p:cNvSpPr/>
            <p:nvPr/>
          </p:nvSpPr>
          <p:spPr>
            <a:xfrm>
              <a:off x="7635890" y="1433717"/>
              <a:ext cx="3164711" cy="2869163"/>
            </a:xfrm>
            <a:custGeom>
              <a:avLst/>
              <a:gdLst/>
              <a:ahLst/>
              <a:cxnLst/>
              <a:rect l="0" t="0" r="0" b="0"/>
              <a:pathLst>
                <a:path w="3936364" h="3573996">
                  <a:moveTo>
                    <a:pt x="0" y="1394460"/>
                  </a:moveTo>
                  <a:lnTo>
                    <a:pt x="755015" y="3573996"/>
                  </a:lnTo>
                  <a:lnTo>
                    <a:pt x="3133978" y="3573996"/>
                  </a:lnTo>
                  <a:lnTo>
                    <a:pt x="3936364" y="1374648"/>
                  </a:lnTo>
                  <a:lnTo>
                    <a:pt x="1955545" y="0"/>
                  </a:lnTo>
                  <a:lnTo>
                    <a:pt x="0" y="1394460"/>
                  </a:lnTo>
                </a:path>
              </a:pathLst>
            </a:custGeom>
            <a:noFill/>
            <a:ln w="9144"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pt-BR"/>
            </a:p>
          </p:txBody>
        </p:sp>
        <p:sp>
          <p:nvSpPr>
            <p:cNvPr id="77" name="Freeform 233">
              <a:extLst>
                <a:ext uri="{FF2B5EF4-FFF2-40B4-BE49-F238E27FC236}">
                  <a16:creationId xmlns:a16="http://schemas.microsoft.com/office/drawing/2014/main" id="{FA47D71B-6285-41AA-BEBA-55E030EC11B1}"/>
                </a:ext>
              </a:extLst>
            </p:cNvPr>
            <p:cNvSpPr/>
            <p:nvPr/>
          </p:nvSpPr>
          <p:spPr>
            <a:xfrm>
              <a:off x="7618736" y="2554398"/>
              <a:ext cx="2498279" cy="1732405"/>
            </a:xfrm>
            <a:custGeom>
              <a:avLst/>
              <a:gdLst/>
              <a:ahLst/>
              <a:cxnLst/>
              <a:rect l="0" t="0" r="0" b="0"/>
              <a:pathLst>
                <a:path w="3107436" h="2157984">
                  <a:moveTo>
                    <a:pt x="0" y="0"/>
                  </a:moveTo>
                  <a:lnTo>
                    <a:pt x="3107436" y="2157984"/>
                  </a:lnTo>
                </a:path>
              </a:pathLst>
            </a:custGeom>
            <a:noFill/>
            <a:ln w="9144"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pt-BR"/>
            </a:p>
          </p:txBody>
        </p:sp>
        <p:sp>
          <p:nvSpPr>
            <p:cNvPr id="78" name="Freeform 234">
              <a:extLst>
                <a:ext uri="{FF2B5EF4-FFF2-40B4-BE49-F238E27FC236}">
                  <a16:creationId xmlns:a16="http://schemas.microsoft.com/office/drawing/2014/main" id="{0865A749-2CF1-4EE2-9483-904374E9C2BC}"/>
                </a:ext>
              </a:extLst>
            </p:cNvPr>
            <p:cNvSpPr/>
            <p:nvPr/>
          </p:nvSpPr>
          <p:spPr>
            <a:xfrm>
              <a:off x="8224008" y="2482213"/>
              <a:ext cx="2576695" cy="1767886"/>
            </a:xfrm>
            <a:custGeom>
              <a:avLst/>
              <a:gdLst/>
              <a:ahLst/>
              <a:cxnLst/>
              <a:rect l="0" t="0" r="0" b="0"/>
              <a:pathLst>
                <a:path w="3204972" h="2202181">
                  <a:moveTo>
                    <a:pt x="0" y="2202181"/>
                  </a:moveTo>
                  <a:lnTo>
                    <a:pt x="3204972" y="0"/>
                  </a:lnTo>
                </a:path>
              </a:pathLst>
            </a:custGeom>
            <a:noFill/>
            <a:ln w="9144"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pt-BR"/>
            </a:p>
          </p:txBody>
        </p:sp>
        <p:sp>
          <p:nvSpPr>
            <p:cNvPr id="79" name="Freeform 235">
              <a:extLst>
                <a:ext uri="{FF2B5EF4-FFF2-40B4-BE49-F238E27FC236}">
                  <a16:creationId xmlns:a16="http://schemas.microsoft.com/office/drawing/2014/main" id="{FFFD2004-148C-4231-86B4-9840F16A9FB6}"/>
                </a:ext>
              </a:extLst>
            </p:cNvPr>
            <p:cNvSpPr/>
            <p:nvPr/>
          </p:nvSpPr>
          <p:spPr>
            <a:xfrm>
              <a:off x="9189503" y="1466750"/>
              <a:ext cx="945890" cy="2783349"/>
            </a:xfrm>
            <a:custGeom>
              <a:avLst/>
              <a:gdLst/>
              <a:ahLst/>
              <a:cxnLst/>
              <a:rect l="0" t="0" r="0" b="0"/>
              <a:pathLst>
                <a:path w="1176527" h="3467101">
                  <a:moveTo>
                    <a:pt x="1176527" y="3467101"/>
                  </a:moveTo>
                  <a:lnTo>
                    <a:pt x="0" y="0"/>
                  </a:lnTo>
                </a:path>
              </a:pathLst>
            </a:custGeom>
            <a:noFill/>
            <a:ln w="9144"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pt-BR"/>
            </a:p>
          </p:txBody>
        </p:sp>
        <p:sp>
          <p:nvSpPr>
            <p:cNvPr id="80" name="Freeform 236">
              <a:extLst>
                <a:ext uri="{FF2B5EF4-FFF2-40B4-BE49-F238E27FC236}">
                  <a16:creationId xmlns:a16="http://schemas.microsoft.com/office/drawing/2014/main" id="{62A35165-A4EC-4D28-8272-826AAE294DF5}"/>
                </a:ext>
              </a:extLst>
            </p:cNvPr>
            <p:cNvSpPr/>
            <p:nvPr/>
          </p:nvSpPr>
          <p:spPr>
            <a:xfrm>
              <a:off x="8201954" y="1447176"/>
              <a:ext cx="970395" cy="2839627"/>
            </a:xfrm>
            <a:custGeom>
              <a:avLst/>
              <a:gdLst/>
              <a:ahLst/>
              <a:cxnLst/>
              <a:rect l="0" t="0" r="0" b="0"/>
              <a:pathLst>
                <a:path w="1207007" h="3537204">
                  <a:moveTo>
                    <a:pt x="0" y="3537204"/>
                  </a:moveTo>
                  <a:lnTo>
                    <a:pt x="1207007" y="0"/>
                  </a:lnTo>
                </a:path>
              </a:pathLst>
            </a:custGeom>
            <a:noFill/>
            <a:ln w="9144"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pt-BR"/>
            </a:p>
          </p:txBody>
        </p:sp>
        <p:sp>
          <p:nvSpPr>
            <p:cNvPr id="81" name="Freeform 237">
              <a:extLst>
                <a:ext uri="{FF2B5EF4-FFF2-40B4-BE49-F238E27FC236}">
                  <a16:creationId xmlns:a16="http://schemas.microsoft.com/office/drawing/2014/main" id="{19DA549A-6691-469A-8FC2-A6ACD6DE0E9D}"/>
                </a:ext>
              </a:extLst>
            </p:cNvPr>
            <p:cNvSpPr/>
            <p:nvPr/>
          </p:nvSpPr>
          <p:spPr>
            <a:xfrm>
              <a:off x="7600358" y="2554398"/>
              <a:ext cx="3200345" cy="0"/>
            </a:xfrm>
            <a:custGeom>
              <a:avLst/>
              <a:gdLst/>
              <a:ahLst/>
              <a:cxnLst/>
              <a:rect l="0" t="0" r="0" b="0"/>
              <a:pathLst>
                <a:path w="3980687">
                  <a:moveTo>
                    <a:pt x="0" y="0"/>
                  </a:moveTo>
                  <a:lnTo>
                    <a:pt x="3980687" y="0"/>
                  </a:lnTo>
                </a:path>
              </a:pathLst>
            </a:custGeom>
            <a:noFill/>
            <a:ln w="9144" cap="flat" cmpd="sng">
              <a:solidFill>
                <a:srgbClr val="FFFFFF">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pt-BR"/>
            </a:p>
          </p:txBody>
        </p:sp>
        <p:sp>
          <p:nvSpPr>
            <p:cNvPr id="82" name="Freeform 238">
              <a:extLst>
                <a:ext uri="{FF2B5EF4-FFF2-40B4-BE49-F238E27FC236}">
                  <a16:creationId xmlns:a16="http://schemas.microsoft.com/office/drawing/2014/main" id="{F20FAF39-6FD1-45F6-B91B-18321F981C64}"/>
                </a:ext>
              </a:extLst>
            </p:cNvPr>
            <p:cNvSpPr/>
            <p:nvPr/>
          </p:nvSpPr>
          <p:spPr>
            <a:xfrm>
              <a:off x="7628538" y="3768060"/>
              <a:ext cx="1215444" cy="1213661"/>
            </a:xfrm>
            <a:custGeom>
              <a:avLst/>
              <a:gdLst/>
              <a:ahLst/>
              <a:cxnLst/>
              <a:rect l="0" t="0" r="0" b="0"/>
              <a:pathLst>
                <a:path w="1511807" h="1511807">
                  <a:moveTo>
                    <a:pt x="0" y="755904"/>
                  </a:moveTo>
                  <a:cubicBezTo>
                    <a:pt x="0" y="338454"/>
                    <a:pt x="338454" y="0"/>
                    <a:pt x="755904" y="0"/>
                  </a:cubicBezTo>
                  <a:cubicBezTo>
                    <a:pt x="1173353" y="0"/>
                    <a:pt x="1511807" y="338454"/>
                    <a:pt x="1511807" y="755904"/>
                  </a:cubicBezTo>
                  <a:cubicBezTo>
                    <a:pt x="1511807" y="1173378"/>
                    <a:pt x="1173353" y="1511807"/>
                    <a:pt x="755904" y="1511807"/>
                  </a:cubicBezTo>
                  <a:cubicBezTo>
                    <a:pt x="338454" y="1511807"/>
                    <a:pt x="0" y="1173378"/>
                    <a:pt x="0" y="755904"/>
                  </a:cubicBezTo>
                  <a:close/>
                </a:path>
              </a:pathLst>
            </a:custGeom>
            <a:solidFill>
              <a:schemeClr val="bg1"/>
            </a:solidFill>
            <a:ln w="9144">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BR"/>
            </a:p>
          </p:txBody>
        </p:sp>
        <p:sp>
          <p:nvSpPr>
            <p:cNvPr id="83" name="Freeform 239">
              <a:extLst>
                <a:ext uri="{FF2B5EF4-FFF2-40B4-BE49-F238E27FC236}">
                  <a16:creationId xmlns:a16="http://schemas.microsoft.com/office/drawing/2014/main" id="{EEA514B3-DD9D-4B13-AA4A-43617BDC98AD}"/>
                </a:ext>
              </a:extLst>
            </p:cNvPr>
            <p:cNvSpPr/>
            <p:nvPr/>
          </p:nvSpPr>
          <p:spPr>
            <a:xfrm>
              <a:off x="7062474" y="2029537"/>
              <a:ext cx="1215444" cy="1213662"/>
            </a:xfrm>
            <a:custGeom>
              <a:avLst/>
              <a:gdLst/>
              <a:ahLst/>
              <a:cxnLst/>
              <a:rect l="0" t="0" r="0" b="0"/>
              <a:pathLst>
                <a:path w="1511807" h="1511808">
                  <a:moveTo>
                    <a:pt x="0" y="755904"/>
                  </a:moveTo>
                  <a:cubicBezTo>
                    <a:pt x="0" y="338455"/>
                    <a:pt x="338429" y="0"/>
                    <a:pt x="755903" y="0"/>
                  </a:cubicBezTo>
                  <a:cubicBezTo>
                    <a:pt x="1173352" y="0"/>
                    <a:pt x="1511807" y="338455"/>
                    <a:pt x="1511807" y="755904"/>
                  </a:cubicBezTo>
                  <a:cubicBezTo>
                    <a:pt x="1511807" y="1173353"/>
                    <a:pt x="1173352" y="1511808"/>
                    <a:pt x="755903" y="1511808"/>
                  </a:cubicBezTo>
                  <a:cubicBezTo>
                    <a:pt x="338429" y="1511808"/>
                    <a:pt x="0" y="1173353"/>
                    <a:pt x="0" y="755904"/>
                  </a:cubicBezTo>
                  <a:close/>
                </a:path>
              </a:pathLst>
            </a:custGeom>
            <a:solidFill>
              <a:schemeClr val="bg1"/>
            </a:solidFill>
            <a:ln w="9144">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BR"/>
            </a:p>
          </p:txBody>
        </p:sp>
        <p:sp>
          <p:nvSpPr>
            <p:cNvPr id="84" name="Freeform 241">
              <a:extLst>
                <a:ext uri="{FF2B5EF4-FFF2-40B4-BE49-F238E27FC236}">
                  <a16:creationId xmlns:a16="http://schemas.microsoft.com/office/drawing/2014/main" id="{61E22313-7C27-44E5-AE7D-896865A94D6A}"/>
                </a:ext>
              </a:extLst>
            </p:cNvPr>
            <p:cNvSpPr/>
            <p:nvPr/>
          </p:nvSpPr>
          <p:spPr>
            <a:xfrm>
              <a:off x="10158673" y="2029537"/>
              <a:ext cx="1215445" cy="1213662"/>
            </a:xfrm>
            <a:custGeom>
              <a:avLst/>
              <a:gdLst/>
              <a:ahLst/>
              <a:cxnLst/>
              <a:rect l="0" t="0" r="0" b="0"/>
              <a:pathLst>
                <a:path w="1511808" h="1511808">
                  <a:moveTo>
                    <a:pt x="0" y="755904"/>
                  </a:moveTo>
                  <a:cubicBezTo>
                    <a:pt x="0" y="338455"/>
                    <a:pt x="338456" y="0"/>
                    <a:pt x="755905" y="0"/>
                  </a:cubicBezTo>
                  <a:cubicBezTo>
                    <a:pt x="1173354" y="0"/>
                    <a:pt x="1511808" y="338455"/>
                    <a:pt x="1511808" y="755904"/>
                  </a:cubicBezTo>
                  <a:cubicBezTo>
                    <a:pt x="1511808" y="1173353"/>
                    <a:pt x="1173354" y="1511808"/>
                    <a:pt x="755905" y="1511808"/>
                  </a:cubicBezTo>
                  <a:cubicBezTo>
                    <a:pt x="338456" y="1511808"/>
                    <a:pt x="0" y="1173353"/>
                    <a:pt x="0" y="755904"/>
                  </a:cubicBezTo>
                  <a:close/>
                </a:path>
              </a:pathLst>
            </a:custGeom>
            <a:solidFill>
              <a:schemeClr val="bg1"/>
            </a:solidFill>
            <a:ln w="9144">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BR"/>
            </a:p>
          </p:txBody>
        </p:sp>
        <p:sp>
          <p:nvSpPr>
            <p:cNvPr id="85" name="Freeform 242">
              <a:extLst>
                <a:ext uri="{FF2B5EF4-FFF2-40B4-BE49-F238E27FC236}">
                  <a16:creationId xmlns:a16="http://schemas.microsoft.com/office/drawing/2014/main" id="{F7A9D1EE-6897-4F2E-94EC-60DE84DF7ABC}"/>
                </a:ext>
              </a:extLst>
            </p:cNvPr>
            <p:cNvSpPr/>
            <p:nvPr/>
          </p:nvSpPr>
          <p:spPr>
            <a:xfrm>
              <a:off x="9596285" y="3768060"/>
              <a:ext cx="1215445" cy="1213661"/>
            </a:xfrm>
            <a:custGeom>
              <a:avLst/>
              <a:gdLst/>
              <a:ahLst/>
              <a:cxnLst/>
              <a:rect l="0" t="0" r="0" b="0"/>
              <a:pathLst>
                <a:path w="1511808" h="1511807">
                  <a:moveTo>
                    <a:pt x="0" y="755904"/>
                  </a:moveTo>
                  <a:cubicBezTo>
                    <a:pt x="0" y="338454"/>
                    <a:pt x="338454" y="0"/>
                    <a:pt x="755903" y="0"/>
                  </a:cubicBezTo>
                  <a:cubicBezTo>
                    <a:pt x="1173352" y="0"/>
                    <a:pt x="1511808" y="338454"/>
                    <a:pt x="1511808" y="755904"/>
                  </a:cubicBezTo>
                  <a:cubicBezTo>
                    <a:pt x="1511808" y="1173378"/>
                    <a:pt x="1173352" y="1511807"/>
                    <a:pt x="755903" y="1511807"/>
                  </a:cubicBezTo>
                  <a:cubicBezTo>
                    <a:pt x="338454" y="1511807"/>
                    <a:pt x="0" y="1173378"/>
                    <a:pt x="0" y="755904"/>
                  </a:cubicBezTo>
                  <a:close/>
                </a:path>
              </a:pathLst>
            </a:custGeom>
            <a:solidFill>
              <a:schemeClr val="bg1"/>
            </a:solidFill>
            <a:ln w="9144">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BR"/>
            </a:p>
          </p:txBody>
        </p:sp>
        <p:sp>
          <p:nvSpPr>
            <p:cNvPr id="86" name="Freeform 243">
              <a:extLst>
                <a:ext uri="{FF2B5EF4-FFF2-40B4-BE49-F238E27FC236}">
                  <a16:creationId xmlns:a16="http://schemas.microsoft.com/office/drawing/2014/main" id="{FBAB68E1-C5DD-484C-B872-BAB7AAA3F6C0}"/>
                </a:ext>
              </a:extLst>
            </p:cNvPr>
            <p:cNvSpPr/>
            <p:nvPr/>
          </p:nvSpPr>
          <p:spPr>
            <a:xfrm>
              <a:off x="8458643" y="2241806"/>
              <a:ext cx="1534009" cy="1531758"/>
            </a:xfrm>
            <a:custGeom>
              <a:avLst/>
              <a:gdLst/>
              <a:ahLst/>
              <a:cxnLst/>
              <a:rect l="0" t="0" r="0" b="0"/>
              <a:pathLst>
                <a:path w="1908048" h="1908047">
                  <a:moveTo>
                    <a:pt x="0" y="954024"/>
                  </a:moveTo>
                  <a:cubicBezTo>
                    <a:pt x="0" y="427101"/>
                    <a:pt x="427100" y="0"/>
                    <a:pt x="954024" y="0"/>
                  </a:cubicBezTo>
                  <a:cubicBezTo>
                    <a:pt x="1480947" y="0"/>
                    <a:pt x="1908048" y="427101"/>
                    <a:pt x="1908048" y="954024"/>
                  </a:cubicBezTo>
                  <a:cubicBezTo>
                    <a:pt x="1908048" y="1480946"/>
                    <a:pt x="1480947" y="1908047"/>
                    <a:pt x="954024" y="1908047"/>
                  </a:cubicBezTo>
                  <a:cubicBezTo>
                    <a:pt x="427100" y="1908047"/>
                    <a:pt x="0" y="1480946"/>
                    <a:pt x="0" y="954024"/>
                  </a:cubicBezTo>
                  <a:close/>
                </a:path>
              </a:pathLst>
            </a:custGeom>
            <a:solidFill>
              <a:srgbClr val="EA3A55"/>
            </a:solidFill>
            <a:ln w="9144">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BR"/>
            </a:p>
          </p:txBody>
        </p:sp>
        <p:sp>
          <p:nvSpPr>
            <p:cNvPr id="87" name="Freeform 244">
              <a:extLst>
                <a:ext uri="{FF2B5EF4-FFF2-40B4-BE49-F238E27FC236}">
                  <a16:creationId xmlns:a16="http://schemas.microsoft.com/office/drawing/2014/main" id="{F1A1EF69-463B-4623-893D-392AA53CD33F}"/>
                </a:ext>
              </a:extLst>
            </p:cNvPr>
            <p:cNvSpPr/>
            <p:nvPr/>
          </p:nvSpPr>
          <p:spPr>
            <a:xfrm>
              <a:off x="8458643" y="2241806"/>
              <a:ext cx="1534009" cy="1531758"/>
            </a:xfrm>
            <a:custGeom>
              <a:avLst/>
              <a:gdLst/>
              <a:ahLst/>
              <a:cxnLst/>
              <a:rect l="0" t="0" r="0" b="0"/>
              <a:pathLst>
                <a:path w="1908048" h="1908047">
                  <a:moveTo>
                    <a:pt x="0" y="954024"/>
                  </a:moveTo>
                  <a:cubicBezTo>
                    <a:pt x="0" y="427101"/>
                    <a:pt x="427100" y="0"/>
                    <a:pt x="954024" y="0"/>
                  </a:cubicBezTo>
                  <a:cubicBezTo>
                    <a:pt x="1480947" y="0"/>
                    <a:pt x="1908048" y="427101"/>
                    <a:pt x="1908048" y="954024"/>
                  </a:cubicBezTo>
                  <a:cubicBezTo>
                    <a:pt x="1908048" y="1480946"/>
                    <a:pt x="1480947" y="1908047"/>
                    <a:pt x="954024" y="1908047"/>
                  </a:cubicBezTo>
                  <a:cubicBezTo>
                    <a:pt x="427100" y="1908047"/>
                    <a:pt x="0" y="1480946"/>
                    <a:pt x="0" y="954024"/>
                  </a:cubicBezTo>
                  <a:close/>
                </a:path>
              </a:pathLst>
            </a:custGeom>
            <a:noFill/>
            <a:ln w="19811" cap="flat" cmpd="sng">
              <a:solidFill>
                <a:srgbClr val="2E2E38">
                  <a:alpha val="100000"/>
                </a:srgbClr>
              </a:solidFill>
              <a:round/>
            </a:ln>
          </p:spPr>
          <p:style>
            <a:lnRef idx="2">
              <a:schemeClr val="accent1">
                <a:shade val="50000"/>
              </a:schemeClr>
            </a:lnRef>
            <a:fillRef idx="1">
              <a:schemeClr val="accent1"/>
            </a:fillRef>
            <a:effectRef idx="0">
              <a:schemeClr val="accent1"/>
            </a:effectRef>
            <a:fontRef idx="minor">
              <a:schemeClr val="lt1"/>
            </a:fontRef>
          </p:style>
          <p:txBody>
            <a:bodyPr/>
            <a:lstStyle/>
            <a:p>
              <a:endParaRPr lang="pt-BR"/>
            </a:p>
          </p:txBody>
        </p:sp>
        <p:sp>
          <p:nvSpPr>
            <p:cNvPr id="88" name="Rectangle 532">
              <a:extLst>
                <a:ext uri="{FF2B5EF4-FFF2-40B4-BE49-F238E27FC236}">
                  <a16:creationId xmlns:a16="http://schemas.microsoft.com/office/drawing/2014/main" id="{14092222-1037-4329-BCD6-F95A14EC676B}"/>
                </a:ext>
              </a:extLst>
            </p:cNvPr>
            <p:cNvSpPr/>
            <p:nvPr/>
          </p:nvSpPr>
          <p:spPr>
            <a:xfrm>
              <a:off x="7854009" y="4190224"/>
              <a:ext cx="764505" cy="369332"/>
            </a:xfrm>
            <a:prstGeom prst="rect">
              <a:avLst/>
            </a:prstGeom>
          </p:spPr>
          <p:txBody>
            <a:bodyPr wrap="none" lIns="0" tIns="0" rIns="0" bIns="0">
              <a:spAutoFit/>
            </a:bodyPr>
            <a:lstStyle/>
            <a:p>
              <a:pPr marL="0" algn="ctr"/>
              <a:r>
                <a:rPr lang="pt-BR" sz="1200" b="1" i="0" spc="0" baseline="0" dirty="0">
                  <a:latin typeface="EYInterstate-Bold"/>
                </a:rPr>
                <a:t>Dados e </a:t>
              </a:r>
              <a:br>
                <a:rPr lang="pt-BR" sz="1200" b="1" i="0" spc="0" baseline="0" dirty="0">
                  <a:latin typeface="EYInterstate-Bold"/>
                </a:rPr>
              </a:br>
              <a:r>
                <a:rPr lang="pt-BR" sz="1200" b="1" i="0" spc="0" baseline="0" dirty="0">
                  <a:latin typeface="EYInterstate-Bold"/>
                </a:rPr>
                <a:t>Tecnologia</a:t>
              </a:r>
            </a:p>
          </p:txBody>
        </p:sp>
        <p:sp>
          <p:nvSpPr>
            <p:cNvPr id="89" name="Rectangle 533">
              <a:extLst>
                <a:ext uri="{FF2B5EF4-FFF2-40B4-BE49-F238E27FC236}">
                  <a16:creationId xmlns:a16="http://schemas.microsoft.com/office/drawing/2014/main" id="{A1A385FE-EF11-4E9E-B032-0E11CA0ACD64}"/>
                </a:ext>
              </a:extLst>
            </p:cNvPr>
            <p:cNvSpPr/>
            <p:nvPr/>
          </p:nvSpPr>
          <p:spPr>
            <a:xfrm>
              <a:off x="7076154" y="2451702"/>
              <a:ext cx="1188082" cy="553998"/>
            </a:xfrm>
            <a:prstGeom prst="rect">
              <a:avLst/>
            </a:prstGeom>
          </p:spPr>
          <p:txBody>
            <a:bodyPr wrap="none" lIns="0" tIns="0" rIns="0" bIns="0">
              <a:spAutoFit/>
            </a:bodyPr>
            <a:lstStyle/>
            <a:p>
              <a:pPr marL="0" algn="ctr"/>
              <a:r>
                <a:rPr lang="pt-BR" sz="1200" b="1" i="0" spc="0" baseline="0" dirty="0">
                  <a:latin typeface="EYInterstate-Bold"/>
                </a:rPr>
                <a:t>Desempenho do </a:t>
              </a:r>
              <a:br>
                <a:rPr lang="pt-BR" sz="1200" b="1" i="0" spc="0" baseline="0" dirty="0">
                  <a:latin typeface="EYInterstate-Bold"/>
                </a:rPr>
              </a:br>
              <a:r>
                <a:rPr lang="pt-BR" sz="1200" b="1" i="0" spc="0" baseline="0" dirty="0">
                  <a:latin typeface="EYInterstate-Bold"/>
                </a:rPr>
                <a:t>Rendimento</a:t>
              </a:r>
              <a:r>
                <a:rPr lang="pt-BR" sz="1200" b="1" dirty="0">
                  <a:latin typeface="EYInterstate-Bold"/>
                </a:rPr>
                <a:t>
</a:t>
              </a:r>
              <a:endParaRPr lang="pt-BR" sz="1200" b="1" i="0" spc="0" baseline="0" dirty="0">
                <a:latin typeface="EYInterstate-Bold"/>
              </a:endParaRPr>
            </a:p>
          </p:txBody>
        </p:sp>
        <p:sp>
          <p:nvSpPr>
            <p:cNvPr id="90" name="Rectangle 535">
              <a:extLst>
                <a:ext uri="{FF2B5EF4-FFF2-40B4-BE49-F238E27FC236}">
                  <a16:creationId xmlns:a16="http://schemas.microsoft.com/office/drawing/2014/main" id="{5D7C7A7C-9268-4585-A1FD-12357A13F3A0}"/>
                </a:ext>
              </a:extLst>
            </p:cNvPr>
            <p:cNvSpPr/>
            <p:nvPr/>
          </p:nvSpPr>
          <p:spPr>
            <a:xfrm>
              <a:off x="10282352" y="2451702"/>
              <a:ext cx="968086" cy="369332"/>
            </a:xfrm>
            <a:prstGeom prst="rect">
              <a:avLst/>
            </a:prstGeom>
          </p:spPr>
          <p:txBody>
            <a:bodyPr wrap="none" lIns="0" tIns="0" rIns="0" bIns="0">
              <a:spAutoFit/>
            </a:bodyPr>
            <a:lstStyle/>
            <a:p>
              <a:pPr algn="ctr"/>
              <a:r>
                <a:rPr lang="pt-BR" sz="1200" b="1" dirty="0">
                  <a:latin typeface="EYInterstate-Bold"/>
                </a:rPr>
                <a:t>Estrutura do </a:t>
              </a:r>
              <a:br>
                <a:rPr lang="pt-BR" sz="1200" b="1" dirty="0">
                  <a:latin typeface="EYInterstate-Bold"/>
                </a:rPr>
              </a:br>
              <a:r>
                <a:rPr lang="pt-BR" sz="1200" b="1" dirty="0">
                  <a:latin typeface="EYInterstate-Bold"/>
                </a:rPr>
                <a:t>negócio</a:t>
              </a:r>
            </a:p>
          </p:txBody>
        </p:sp>
        <p:sp>
          <p:nvSpPr>
            <p:cNvPr id="91" name="Rectangle 536">
              <a:extLst>
                <a:ext uri="{FF2B5EF4-FFF2-40B4-BE49-F238E27FC236}">
                  <a16:creationId xmlns:a16="http://schemas.microsoft.com/office/drawing/2014/main" id="{F49AF833-8872-4F57-9CE9-990BD7D39D86}"/>
                </a:ext>
              </a:extLst>
            </p:cNvPr>
            <p:cNvSpPr/>
            <p:nvPr/>
          </p:nvSpPr>
          <p:spPr>
            <a:xfrm>
              <a:off x="9754525" y="4190224"/>
              <a:ext cx="898964" cy="369332"/>
            </a:xfrm>
            <a:prstGeom prst="rect">
              <a:avLst/>
            </a:prstGeom>
          </p:spPr>
          <p:txBody>
            <a:bodyPr wrap="none" lIns="0" tIns="0" rIns="0" bIns="0">
              <a:spAutoFit/>
            </a:bodyPr>
            <a:lstStyle/>
            <a:p>
              <a:pPr algn="ctr"/>
              <a:r>
                <a:rPr lang="pt-BR" sz="1200" b="1" dirty="0">
                  <a:latin typeface="EYInterstate-Bold"/>
                </a:rPr>
                <a:t>Pessoas e 
Organização</a:t>
              </a:r>
              <a:endParaRPr lang="pt-BR" sz="1200" b="1" i="0" spc="0" baseline="0" dirty="0">
                <a:latin typeface="EYInterstate-Bold"/>
              </a:endParaRPr>
            </a:p>
          </p:txBody>
        </p:sp>
        <p:sp>
          <p:nvSpPr>
            <p:cNvPr id="92" name="Rectangle 537">
              <a:extLst>
                <a:ext uri="{FF2B5EF4-FFF2-40B4-BE49-F238E27FC236}">
                  <a16:creationId xmlns:a16="http://schemas.microsoft.com/office/drawing/2014/main" id="{4564EC31-1267-492C-A541-E133BC51196B}"/>
                </a:ext>
              </a:extLst>
            </p:cNvPr>
            <p:cNvSpPr/>
            <p:nvPr/>
          </p:nvSpPr>
          <p:spPr>
            <a:xfrm>
              <a:off x="8708680" y="2792242"/>
              <a:ext cx="1033937" cy="430887"/>
            </a:xfrm>
            <a:prstGeom prst="rect">
              <a:avLst/>
            </a:prstGeom>
          </p:spPr>
          <p:txBody>
            <a:bodyPr wrap="none" lIns="0" tIns="0" rIns="0" bIns="0">
              <a:spAutoFit/>
            </a:bodyPr>
            <a:lstStyle/>
            <a:p>
              <a:pPr marL="0" algn="ctr"/>
              <a:r>
                <a:rPr lang="pt-BR" sz="1400" b="1" i="0" spc="0" baseline="0">
                  <a:solidFill>
                    <a:schemeClr val="bg1"/>
                  </a:solidFill>
                  <a:latin typeface="Arial"/>
                </a:rPr>
                <a:t>Modelo </a:t>
              </a:r>
            </a:p>
            <a:p>
              <a:pPr marL="0" algn="ctr"/>
              <a:r>
                <a:rPr lang="pt-BR" sz="1400" b="1">
                  <a:solidFill>
                    <a:schemeClr val="bg1"/>
                  </a:solidFill>
                  <a:latin typeface="Arial"/>
                </a:rPr>
                <a:t>Operacional</a:t>
              </a:r>
              <a:endParaRPr lang="pt-BR" sz="1400" b="1" i="0" spc="0" baseline="0">
                <a:solidFill>
                  <a:schemeClr val="bg1"/>
                </a:solidFill>
                <a:latin typeface="Arial"/>
              </a:endParaRPr>
            </a:p>
          </p:txBody>
        </p:sp>
        <p:sp>
          <p:nvSpPr>
            <p:cNvPr id="93" name="Freeform 241">
              <a:extLst>
                <a:ext uri="{FF2B5EF4-FFF2-40B4-BE49-F238E27FC236}">
                  <a16:creationId xmlns:a16="http://schemas.microsoft.com/office/drawing/2014/main" id="{227DFAA2-924C-438D-B403-D7C817D8F8C8}"/>
                </a:ext>
              </a:extLst>
            </p:cNvPr>
            <p:cNvSpPr/>
            <p:nvPr/>
          </p:nvSpPr>
          <p:spPr>
            <a:xfrm>
              <a:off x="8615985" y="661721"/>
              <a:ext cx="1215445" cy="1213662"/>
            </a:xfrm>
            <a:custGeom>
              <a:avLst/>
              <a:gdLst/>
              <a:ahLst/>
              <a:cxnLst/>
              <a:rect l="0" t="0" r="0" b="0"/>
              <a:pathLst>
                <a:path w="1511808" h="1511808">
                  <a:moveTo>
                    <a:pt x="0" y="755904"/>
                  </a:moveTo>
                  <a:cubicBezTo>
                    <a:pt x="0" y="338455"/>
                    <a:pt x="338456" y="0"/>
                    <a:pt x="755905" y="0"/>
                  </a:cubicBezTo>
                  <a:cubicBezTo>
                    <a:pt x="1173354" y="0"/>
                    <a:pt x="1511808" y="338455"/>
                    <a:pt x="1511808" y="755904"/>
                  </a:cubicBezTo>
                  <a:cubicBezTo>
                    <a:pt x="1511808" y="1173353"/>
                    <a:pt x="1173354" y="1511808"/>
                    <a:pt x="755905" y="1511808"/>
                  </a:cubicBezTo>
                  <a:cubicBezTo>
                    <a:pt x="338456" y="1511808"/>
                    <a:pt x="0" y="1173353"/>
                    <a:pt x="0" y="755904"/>
                  </a:cubicBezTo>
                  <a:close/>
                </a:path>
              </a:pathLst>
            </a:custGeom>
            <a:solidFill>
              <a:schemeClr val="bg1"/>
            </a:solidFill>
            <a:ln w="9144">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pt-BR"/>
            </a:p>
          </p:txBody>
        </p:sp>
        <p:sp>
          <p:nvSpPr>
            <p:cNvPr id="94" name="Rectangle 535">
              <a:extLst>
                <a:ext uri="{FF2B5EF4-FFF2-40B4-BE49-F238E27FC236}">
                  <a16:creationId xmlns:a16="http://schemas.microsoft.com/office/drawing/2014/main" id="{697CB677-F4C0-4E4E-B78E-ABAD587084F7}"/>
                </a:ext>
              </a:extLst>
            </p:cNvPr>
            <p:cNvSpPr/>
            <p:nvPr/>
          </p:nvSpPr>
          <p:spPr>
            <a:xfrm>
              <a:off x="8795224" y="1083886"/>
              <a:ext cx="856966" cy="369332"/>
            </a:xfrm>
            <a:prstGeom prst="rect">
              <a:avLst/>
            </a:prstGeom>
          </p:spPr>
          <p:txBody>
            <a:bodyPr wrap="none" lIns="0" tIns="0" rIns="0" bIns="0">
              <a:spAutoFit/>
            </a:bodyPr>
            <a:lstStyle/>
            <a:p>
              <a:pPr algn="ctr"/>
              <a:r>
                <a:rPr lang="pt-BR" sz="1200" b="1" dirty="0">
                  <a:solidFill>
                    <a:schemeClr val="bg2"/>
                  </a:solidFill>
                  <a:latin typeface="EYInterstate-Bold"/>
                </a:rPr>
                <a:t>Estratégia
Operacional</a:t>
              </a:r>
              <a:endParaRPr lang="pt-BR" sz="1200" b="1" i="0" spc="0" baseline="0" dirty="0">
                <a:solidFill>
                  <a:schemeClr val="bg2"/>
                </a:solidFill>
                <a:latin typeface="EYInterstate-Bold"/>
              </a:endParaRPr>
            </a:p>
          </p:txBody>
        </p:sp>
      </p:grpSp>
    </p:spTree>
    <p:extLst>
      <p:ext uri="{BB962C8B-B14F-4D97-AF65-F5344CB8AC3E}">
        <p14:creationId xmlns:p14="http://schemas.microsoft.com/office/powerpoint/2010/main" val="29274217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3692B0D-82AC-41A6-A5BD-1A4B9AC9B985}"/>
              </a:ext>
            </a:extLst>
          </p:cNvPr>
          <p:cNvSpPr txBox="1"/>
          <p:nvPr/>
        </p:nvSpPr>
        <p:spPr>
          <a:xfrm>
            <a:off x="486611" y="1437319"/>
            <a:ext cx="11218778" cy="4744312"/>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pt-BR" sz="2400" b="1" dirty="0">
                <a:solidFill>
                  <a:schemeClr val="bg1"/>
                </a:solidFill>
                <a:latin typeface="Arial" panose="020B0604020202020204" pitchFamily="34" charset="0"/>
                <a:cs typeface="Arial" panose="020B0604020202020204" pitchFamily="34" charset="0"/>
              </a:rPr>
              <a:t>Data de entrega: </a:t>
            </a:r>
            <a:r>
              <a:rPr lang="pt-BR" sz="2400" b="1" dirty="0">
                <a:solidFill>
                  <a:schemeClr val="bg1"/>
                </a:solidFill>
                <a:highlight>
                  <a:srgbClr val="EA3A55"/>
                </a:highlight>
                <a:latin typeface="Arial" panose="020B0604020202020204" pitchFamily="34" charset="0"/>
                <a:cs typeface="Arial" panose="020B0604020202020204" pitchFamily="34" charset="0"/>
              </a:rPr>
              <a:t>19 de maio</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pt-BR" sz="2000" dirty="0">
                <a:solidFill>
                  <a:schemeClr val="bg1"/>
                </a:solidFill>
                <a:latin typeface="Arial" panose="020B0604020202020204" pitchFamily="34" charset="0"/>
                <a:cs typeface="Arial" panose="020B0604020202020204" pitchFamily="34" charset="0"/>
              </a:rPr>
              <a:t>Um dos membros do grupo deve enviar o arquivo para a </a:t>
            </a:r>
            <a:r>
              <a:rPr lang="pt-BR" sz="2000" dirty="0" err="1">
                <a:solidFill>
                  <a:schemeClr val="bg1"/>
                </a:solidFill>
                <a:latin typeface="Arial" panose="020B0604020202020204" pitchFamily="34" charset="0"/>
                <a:cs typeface="Arial" panose="020B0604020202020204" pitchFamily="34" charset="0"/>
              </a:rPr>
              <a:t>ConnectAmericas</a:t>
            </a:r>
            <a:r>
              <a:rPr lang="pt-BR" sz="2000" dirty="0">
                <a:solidFill>
                  <a:schemeClr val="bg1"/>
                </a:solidFill>
                <a:latin typeface="Arial" panose="020B0604020202020204" pitchFamily="34" charset="0"/>
                <a:cs typeface="Arial" panose="020B0604020202020204" pitchFamily="34" charset="0"/>
              </a:rPr>
              <a:t> </a:t>
            </a:r>
            <a:r>
              <a:rPr lang="pt-BR" sz="2000" dirty="0" err="1">
                <a:solidFill>
                  <a:schemeClr val="bg1"/>
                </a:solidFill>
                <a:latin typeface="Arial" panose="020B0604020202020204" pitchFamily="34" charset="0"/>
                <a:cs typeface="Arial" panose="020B0604020202020204" pitchFamily="34" charset="0"/>
              </a:rPr>
              <a:t>Academy</a:t>
            </a:r>
            <a:r>
              <a:rPr lang="pt-BR" sz="2000" dirty="0">
                <a:solidFill>
                  <a:schemeClr val="bg1"/>
                </a:solidFill>
                <a:latin typeface="Arial" panose="020B0604020202020204" pitchFamily="34" charset="0"/>
                <a:cs typeface="Arial" panose="020B0604020202020204" pitchFamily="34" charset="0"/>
              </a:rPr>
              <a:t> através do caminho: </a:t>
            </a:r>
            <a:r>
              <a:rPr lang="pt-BR" sz="2000" b="1" u="sng" dirty="0" err="1">
                <a:solidFill>
                  <a:schemeClr val="accent4">
                    <a:lumMod val="40000"/>
                    <a:lumOff val="60000"/>
                  </a:schemeClr>
                </a:solidFill>
                <a:latin typeface="Arial" panose="020B0604020202020204" pitchFamily="34" charset="0"/>
                <a:cs typeface="Arial" panose="020B0604020202020204" pitchFamily="34" charset="0"/>
              </a:rPr>
              <a:t>ConnectAmericas</a:t>
            </a:r>
            <a:r>
              <a:rPr lang="pt-BR" sz="2000" b="1" u="sng" dirty="0">
                <a:solidFill>
                  <a:schemeClr val="accent4">
                    <a:lumMod val="40000"/>
                    <a:lumOff val="60000"/>
                  </a:schemeClr>
                </a:solidFill>
                <a:latin typeface="Arial" panose="020B0604020202020204" pitchFamily="34" charset="0"/>
                <a:cs typeface="Arial" panose="020B0604020202020204" pitchFamily="34" charset="0"/>
              </a:rPr>
              <a:t> </a:t>
            </a:r>
            <a:r>
              <a:rPr lang="pt-BR" sz="2000" b="1" u="sng" dirty="0" err="1">
                <a:solidFill>
                  <a:schemeClr val="accent4">
                    <a:lumMod val="40000"/>
                    <a:lumOff val="60000"/>
                  </a:schemeClr>
                </a:solidFill>
                <a:latin typeface="Arial" panose="020B0604020202020204" pitchFamily="34" charset="0"/>
                <a:cs typeface="Arial" panose="020B0604020202020204" pitchFamily="34" charset="0"/>
              </a:rPr>
              <a:t>Academy</a:t>
            </a:r>
            <a:r>
              <a:rPr lang="pt-BR" sz="2000" b="1" u="sng" dirty="0">
                <a:solidFill>
                  <a:schemeClr val="accent4">
                    <a:lumMod val="40000"/>
                    <a:lumOff val="60000"/>
                  </a:schemeClr>
                </a:solidFill>
                <a:latin typeface="Arial" panose="020B0604020202020204" pitchFamily="34" charset="0"/>
                <a:cs typeface="Arial" panose="020B0604020202020204" pitchFamily="34" charset="0"/>
              </a:rPr>
              <a:t> - Tópico 3 Modelo de </a:t>
            </a:r>
            <a:r>
              <a:rPr lang="pt-BR" sz="2000" b="1" u="sng" dirty="0" err="1">
                <a:solidFill>
                  <a:schemeClr val="accent4">
                    <a:lumMod val="40000"/>
                    <a:lumOff val="60000"/>
                  </a:schemeClr>
                </a:solidFill>
                <a:latin typeface="Arial" panose="020B0604020202020204" pitchFamily="34" charset="0"/>
                <a:cs typeface="Arial" panose="020B0604020202020204" pitchFamily="34" charset="0"/>
              </a:rPr>
              <a:t>neg</a:t>
            </a:r>
            <a:r>
              <a:rPr lang="es-CO" sz="2000" b="1" u="sng" dirty="0" err="1">
                <a:solidFill>
                  <a:schemeClr val="accent4">
                    <a:lumMod val="40000"/>
                    <a:lumOff val="60000"/>
                  </a:schemeClr>
                </a:solidFill>
                <a:latin typeface="Arial" panose="020B0604020202020204" pitchFamily="34" charset="0"/>
                <a:cs typeface="Arial" panose="020B0604020202020204" pitchFamily="34" charset="0"/>
              </a:rPr>
              <a:t>ócios</a:t>
            </a:r>
            <a:r>
              <a:rPr lang="es-CO" sz="2000" b="1" u="sng" dirty="0">
                <a:solidFill>
                  <a:schemeClr val="accent4">
                    <a:lumMod val="40000"/>
                    <a:lumOff val="60000"/>
                  </a:schemeClr>
                </a:solidFill>
                <a:latin typeface="Arial" panose="020B0604020202020204" pitchFamily="34" charset="0"/>
                <a:cs typeface="Arial" panose="020B0604020202020204" pitchFamily="34" charset="0"/>
              </a:rPr>
              <a:t> - </a:t>
            </a:r>
            <a:r>
              <a:rPr lang="pt-BR" sz="2000" b="1" u="sng" dirty="0">
                <a:solidFill>
                  <a:schemeClr val="accent4">
                    <a:lumMod val="40000"/>
                    <a:lumOff val="60000"/>
                  </a:schemeClr>
                </a:solidFill>
                <a:latin typeface="Arial" panose="020B0604020202020204" pitchFamily="34" charset="0"/>
                <a:cs typeface="Arial" panose="020B0604020202020204" pitchFamily="34" charset="0"/>
              </a:rPr>
              <a:t>Aula 3 Transformação - Desafio do Grupo</a:t>
            </a:r>
            <a:r>
              <a:rPr lang="pt-BR" sz="2000" dirty="0">
                <a:solidFill>
                  <a:schemeClr val="bg1"/>
                </a:solidFill>
                <a:latin typeface="Arial" panose="020B0604020202020204" pitchFamily="34" charset="0"/>
                <a:cs typeface="Arial" panose="020B0604020202020204" pitchFamily="34" charset="0"/>
              </a:rPr>
              <a:t>.</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pt-BR" sz="2000" dirty="0">
                <a:solidFill>
                  <a:schemeClr val="bg1"/>
                </a:solidFill>
                <a:latin typeface="Arial" panose="020B0604020202020204" pitchFamily="34" charset="0"/>
                <a:cs typeface="Arial" panose="020B0604020202020204" pitchFamily="34" charset="0"/>
              </a:rPr>
              <a:t>Vocês podem fazer upload de arquivos em </a:t>
            </a:r>
            <a:r>
              <a:rPr lang="pt-BR" sz="2000" b="1" dirty="0">
                <a:solidFill>
                  <a:schemeClr val="bg1"/>
                </a:solidFill>
                <a:latin typeface="Arial" panose="020B0604020202020204" pitchFamily="34" charset="0"/>
                <a:cs typeface="Arial" panose="020B0604020202020204" pitchFamily="34" charset="0"/>
              </a:rPr>
              <a:t>PDF, Powerpoint, Word, Excel, Imagens (PNG, JPG)</a:t>
            </a:r>
            <a:r>
              <a:rPr lang="pt-BR" sz="2000" dirty="0">
                <a:solidFill>
                  <a:schemeClr val="bg1"/>
                </a:solidFill>
                <a:latin typeface="Arial" panose="020B0604020202020204" pitchFamily="34" charset="0"/>
                <a:cs typeface="Arial" panose="020B0604020202020204" pitchFamily="34" charset="0"/>
              </a:rPr>
              <a:t>, entre outros. </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pt-BR" sz="2000" dirty="0">
                <a:solidFill>
                  <a:schemeClr val="bg1"/>
                </a:solidFill>
                <a:latin typeface="Arial" panose="020B0604020202020204" pitchFamily="34" charset="0"/>
                <a:cs typeface="Arial" panose="020B0604020202020204" pitchFamily="34" charset="0"/>
              </a:rPr>
              <a:t>Caso vocês desenvolvam o exercício em uma </a:t>
            </a:r>
            <a:r>
              <a:rPr lang="pt-BR" sz="2000" b="1" dirty="0">
                <a:solidFill>
                  <a:schemeClr val="bg1"/>
                </a:solidFill>
                <a:highlight>
                  <a:srgbClr val="EA3A55"/>
                </a:highlight>
                <a:latin typeface="Arial" panose="020B0604020202020204" pitchFamily="34" charset="0"/>
                <a:cs typeface="Arial" panose="020B0604020202020204" pitchFamily="34" charset="0"/>
              </a:rPr>
              <a:t>ferramenta on-line</a:t>
            </a:r>
            <a:r>
              <a:rPr lang="pt-BR" sz="2000" dirty="0">
                <a:solidFill>
                  <a:schemeClr val="bg1"/>
                </a:solidFill>
                <a:latin typeface="Arial" panose="020B0604020202020204" pitchFamily="34" charset="0"/>
                <a:cs typeface="Arial" panose="020B0604020202020204" pitchFamily="34" charset="0"/>
              </a:rPr>
              <a:t>, podem fazer upload de  um documento com o link associado. Devem certificar que estes links sejam públicos, ou seja, que possam ser vistos por pessoas de fora de sua organização.</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pt-BR" sz="2000" dirty="0">
                <a:solidFill>
                  <a:schemeClr val="bg1"/>
                </a:solidFill>
                <a:latin typeface="Arial" panose="020B0604020202020204" pitchFamily="34" charset="0"/>
                <a:cs typeface="Arial" panose="020B0604020202020204" pitchFamily="34" charset="0"/>
              </a:rPr>
              <a:t>Verifiquem que o arquivo seja legível pois, ele só pode ser carregado na Academia </a:t>
            </a:r>
            <a:r>
              <a:rPr lang="pt-BR" sz="2000" b="1" u="sng" dirty="0">
                <a:solidFill>
                  <a:schemeClr val="bg1"/>
                </a:solidFill>
                <a:latin typeface="Arial" panose="020B0604020202020204" pitchFamily="34" charset="0"/>
                <a:cs typeface="Arial" panose="020B0604020202020204" pitchFamily="34" charset="0"/>
              </a:rPr>
              <a:t>uma vez</a:t>
            </a:r>
            <a:r>
              <a:rPr lang="pt-BR" sz="2000" dirty="0">
                <a:solidFill>
                  <a:schemeClr val="bg1"/>
                </a:solidFill>
                <a:latin typeface="Arial" panose="020B0604020202020204" pitchFamily="34" charset="0"/>
                <a:cs typeface="Arial" panose="020B0604020202020204" pitchFamily="34" charset="0"/>
              </a:rPr>
              <a:t>. </a:t>
            </a:r>
            <a:endParaRPr lang="pt-BR" sz="2000" b="1" u="sng" dirty="0">
              <a:solidFill>
                <a:schemeClr val="accent4">
                  <a:lumMod val="40000"/>
                  <a:lumOff val="60000"/>
                </a:schemeClr>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A9A4E206-162D-4148-A220-C6C68B016389}"/>
              </a:ext>
            </a:extLst>
          </p:cNvPr>
          <p:cNvSpPr txBox="1"/>
          <p:nvPr/>
        </p:nvSpPr>
        <p:spPr>
          <a:xfrm>
            <a:off x="553451" y="362193"/>
            <a:ext cx="10838046" cy="901593"/>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s-CO" sz="4000" b="1" dirty="0">
                <a:solidFill>
                  <a:prstClr val="white"/>
                </a:solidFill>
                <a:latin typeface="Arial" panose="020B0604020202020204" pitchFamily="34" charset="0"/>
                <a:cs typeface="Arial" panose="020B0604020202020204" pitchFamily="34" charset="0"/>
              </a:rPr>
              <a:t>INSTRUÇÕES</a:t>
            </a:r>
          </a:p>
        </p:txBody>
      </p:sp>
    </p:spTree>
    <p:extLst>
      <p:ext uri="{BB962C8B-B14F-4D97-AF65-F5344CB8AC3E}">
        <p14:creationId xmlns:p14="http://schemas.microsoft.com/office/powerpoint/2010/main" val="16977531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1zyUykInx.urylw2A3z0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cG9Mc56GFxoq7BWvWblaA"/>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7C4F6F202B989444B8E513D90358DBD5" ma:contentTypeVersion="13" ma:contentTypeDescription="Criar um novo documento." ma:contentTypeScope="" ma:versionID="da23106593f03fc86f8397fc04ecc1b5">
  <xsd:schema xmlns:xsd="http://www.w3.org/2001/XMLSchema" xmlns:xs="http://www.w3.org/2001/XMLSchema" xmlns:p="http://schemas.microsoft.com/office/2006/metadata/properties" xmlns:ns2="f7497011-41e9-4539-8eaa-a91e26322fc1" xmlns:ns3="36ab4214-ab26-4180-94f5-c882e3796056" targetNamespace="http://schemas.microsoft.com/office/2006/metadata/properties" ma:root="true" ma:fieldsID="31a3e49457fcb0f42aba02967bc5aaf2" ns2:_="" ns3:_="">
    <xsd:import namespace="f7497011-41e9-4539-8eaa-a91e26322fc1"/>
    <xsd:import namespace="36ab4214-ab26-4180-94f5-c882e379605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497011-41e9-4539-8eaa-a91e26322f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6ab4214-ab26-4180-94f5-c882e3796056" elementFormDefault="qualified">
    <xsd:import namespace="http://schemas.microsoft.com/office/2006/documentManagement/types"/>
    <xsd:import namespace="http://schemas.microsoft.com/office/infopath/2007/PartnerControls"/>
    <xsd:element name="SharedWithUsers" ma:index="18" nillable="true" ma:displayName="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Detalhes de Partilhado Com"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36ab4214-ab26-4180-94f5-c882e3796056">
      <UserInfo>
        <DisplayName>Monica Betancourt</DisplayName>
        <AccountId>14</AccountId>
        <AccountType/>
      </UserInfo>
      <UserInfo>
        <DisplayName>Cecilia M Polo</DisplayName>
        <AccountId>72</AccountId>
        <AccountType/>
      </UserInfo>
    </SharedWithUsers>
  </documentManagement>
</p:properties>
</file>

<file path=customXml/itemProps1.xml><?xml version="1.0" encoding="utf-8"?>
<ds:datastoreItem xmlns:ds="http://schemas.openxmlformats.org/officeDocument/2006/customXml" ds:itemID="{0399AA63-1C88-4B28-B685-E7D2D5795DB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497011-41e9-4539-8eaa-a91e26322fc1"/>
    <ds:schemaRef ds:uri="36ab4214-ab26-4180-94f5-c882e379605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FEBD0AE-4C18-4A23-B4DC-6E6B1C1ACE7D}">
  <ds:schemaRefs>
    <ds:schemaRef ds:uri="http://schemas.microsoft.com/sharepoint/v3/contenttype/forms"/>
  </ds:schemaRefs>
</ds:datastoreItem>
</file>

<file path=customXml/itemProps3.xml><?xml version="1.0" encoding="utf-8"?>
<ds:datastoreItem xmlns:ds="http://schemas.openxmlformats.org/officeDocument/2006/customXml" ds:itemID="{92397B2F-AA3E-4435-ABBB-477580938829}">
  <ds:schemaRefs>
    <ds:schemaRef ds:uri="36ab4214-ab26-4180-94f5-c882e3796056"/>
    <ds:schemaRef ds:uri="f7497011-41e9-4539-8eaa-a91e26322fc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50</TotalTime>
  <Words>877</Words>
  <Application>Microsoft Office PowerPoint</Application>
  <PresentationFormat>Widescreen</PresentationFormat>
  <Paragraphs>95</Paragraphs>
  <Slides>7</Slides>
  <Notes>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5" baseType="lpstr">
      <vt:lpstr>Arial</vt:lpstr>
      <vt:lpstr>Calibri</vt:lpstr>
      <vt:lpstr>EYInterstate Light</vt:lpstr>
      <vt:lpstr>EYInterstate-Bold</vt:lpstr>
      <vt:lpstr>Georgia</vt:lpstr>
      <vt:lpstr>Wingdings</vt:lpstr>
      <vt:lpstr>EY dark background</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an Solana</dc:creator>
  <cp:lastModifiedBy>Katerine Schifino</cp:lastModifiedBy>
  <cp:revision>3</cp:revision>
  <dcterms:created xsi:type="dcterms:W3CDTF">2020-11-16T13:23:13Z</dcterms:created>
  <dcterms:modified xsi:type="dcterms:W3CDTF">2022-05-03T23:3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84780</vt:lpwstr>
  </property>
  <property fmtid="{D5CDD505-2E9C-101B-9397-08002B2CF9AE}" pid="3" name="NXPowerLiteSettings">
    <vt:lpwstr>C700052003A000</vt:lpwstr>
  </property>
  <property fmtid="{D5CDD505-2E9C-101B-9397-08002B2CF9AE}" pid="4" name="NXPowerLiteVersion">
    <vt:lpwstr>D8.0.4</vt:lpwstr>
  </property>
  <property fmtid="{D5CDD505-2E9C-101B-9397-08002B2CF9AE}" pid="5" name="ContentTypeId">
    <vt:lpwstr>0x0101007C4F6F202B989444B8E513D90358DBD5</vt:lpwstr>
  </property>
</Properties>
</file>